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8"/>
  </p:notesMasterIdLst>
  <p:handoutMasterIdLst>
    <p:handoutMasterId r:id="rId9"/>
  </p:handoutMasterIdLst>
  <p:sldIdLst>
    <p:sldId id="1027" r:id="rId5"/>
    <p:sldId id="1036" r:id="rId6"/>
    <p:sldId id="953" r:id="rId7"/>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id="{2C9DC1DC-DC52-4730-B7DA-888882CCC10D}">
          <p14:sldIdLst>
            <p14:sldId id="1027"/>
          </p14:sldIdLst>
        </p14:section>
        <p14:section name="Content Slides" id="{DBF0F1FC-5A7F-4CF0-8306-5887B4B82216}">
          <p14:sldIdLst>
            <p14:sldId id="1036"/>
          </p14:sldIdLst>
        </p14:section>
        <p14:section name="Logo End Slide" id="{8D5B8436-E78A-4AA1-8259-A52B641BEE92}">
          <p14:sldIdLst>
            <p14:sldId id="953"/>
          </p14:sldIdLst>
        </p14:section>
      </p14:sectionLst>
    </p:ext>
    <p:ext uri="{EFAFB233-063F-42B5-8137-9DF3F51BA10A}">
      <p15:sldGuideLst xmlns="" xmlns:p15="http://schemas.microsoft.com/office/powerpoint/2012/main">
        <p15:guide id="1" orient="horz" pos="2968" userDrawn="1">
          <p15:clr>
            <a:srgbClr val="A4A3A4"/>
          </p15:clr>
        </p15:guide>
        <p15:guide id="2" pos="7632" userDrawn="1">
          <p15:clr>
            <a:srgbClr val="A4A3A4"/>
          </p15:clr>
        </p15:guide>
        <p15:guide id="3" orient="horz" pos="3295">
          <p15:clr>
            <a:srgbClr val="A4A3A4"/>
          </p15:clr>
        </p15:guide>
        <p15:guide id="4" pos="765">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3484D"/>
    <a:srgbClr val="E7EAED"/>
    <a:srgbClr val="8E9CA8"/>
    <a:srgbClr val="97A0A9"/>
    <a:srgbClr val="C2CAD0"/>
    <a:srgbClr val="CDD4D9"/>
    <a:srgbClr val="9EAAB4"/>
    <a:srgbClr val="262C32"/>
    <a:srgbClr val="F753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F5AB1C69-6EDB-4FF4-983F-18BD219EF32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6" autoAdjust="0"/>
    <p:restoredTop sz="86998" autoAdjust="0"/>
  </p:normalViewPr>
  <p:slideViewPr>
    <p:cSldViewPr snapToGrid="0">
      <p:cViewPr varScale="1">
        <p:scale>
          <a:sx n="122" d="100"/>
          <a:sy n="122" d="100"/>
        </p:scale>
        <p:origin x="-96" y="-108"/>
      </p:cViewPr>
      <p:guideLst>
        <p:guide orient="horz" pos="2968"/>
        <p:guide orient="horz" pos="3295"/>
        <p:guide pos="7632"/>
        <p:guide pos="765"/>
      </p:guideLst>
    </p:cSldViewPr>
  </p:slideViewPr>
  <p:outlineViewPr>
    <p:cViewPr>
      <p:scale>
        <a:sx n="33" d="100"/>
        <a:sy n="33" d="100"/>
      </p:scale>
      <p:origin x="0" y="-49468"/>
    </p:cViewPr>
  </p:outlineViewPr>
  <p:notesTextViewPr>
    <p:cViewPr>
      <p:scale>
        <a:sx n="3" d="2"/>
        <a:sy n="3" d="2"/>
      </p:scale>
      <p:origin x="0" y="0"/>
    </p:cViewPr>
  </p:notesTextViewPr>
  <p:sorterViewPr>
    <p:cViewPr>
      <p:scale>
        <a:sx n="140" d="100"/>
        <a:sy n="140" d="100"/>
      </p:scale>
      <p:origin x="0" y="0"/>
    </p:cViewPr>
  </p:sorterViewPr>
  <p:notesViewPr>
    <p:cSldViewPr snapToGrid="0">
      <p:cViewPr varScale="1">
        <p:scale>
          <a:sx n="94" d="100"/>
          <a:sy n="94" d="100"/>
        </p:scale>
        <p:origin x="360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ithurajM\AppData\Local\Temp\Temp1_10.%20AS_Methodology_Discussion_TAC_11202019.zip\01_2020_Regulation_1111201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600" b="0" dirty="0" err="1"/>
              <a:t>Reg</a:t>
            </a:r>
            <a:r>
              <a:rPr lang="en-US" sz="1600" b="0" dirty="0"/>
              <a:t>-Down ASDC</a:t>
            </a:r>
          </a:p>
        </c:rich>
      </c:tx>
      <c:layout/>
      <c:overlay val="0"/>
    </c:title>
    <c:autoTitleDeleted val="0"/>
    <c:plotArea>
      <c:layout/>
      <c:lineChart>
        <c:grouping val="standard"/>
        <c:varyColors val="0"/>
        <c:ser>
          <c:idx val="1"/>
          <c:order val="0"/>
          <c:tx>
            <c:v>Reg-Down ASDC</c:v>
          </c:tx>
          <c:marker>
            <c:symbol val="none"/>
          </c:marker>
          <c:cat>
            <c:numRef>
              <c:f>'2020 Regulation-down'!$S$11:$S$26</c:f>
              <c:numCache>
                <c:formatCode>m/d/yyyy</c:formatCode>
                <c:ptCount val="16"/>
                <c:pt idx="0">
                  <c:v>43462</c:v>
                </c:pt>
                <c:pt idx="1">
                  <c:v>43466</c:v>
                </c:pt>
                <c:pt idx="2">
                  <c:v>43467</c:v>
                </c:pt>
                <c:pt idx="3">
                  <c:v>43467</c:v>
                </c:pt>
                <c:pt idx="4">
                  <c:v>43468</c:v>
                </c:pt>
                <c:pt idx="5">
                  <c:v>43468</c:v>
                </c:pt>
                <c:pt idx="6">
                  <c:v>43469</c:v>
                </c:pt>
                <c:pt idx="7">
                  <c:v>43469</c:v>
                </c:pt>
                <c:pt idx="8">
                  <c:v>43470</c:v>
                </c:pt>
                <c:pt idx="9">
                  <c:v>43470</c:v>
                </c:pt>
                <c:pt idx="10">
                  <c:v>43471</c:v>
                </c:pt>
                <c:pt idx="11">
                  <c:v>43471</c:v>
                </c:pt>
                <c:pt idx="12">
                  <c:v>43472</c:v>
                </c:pt>
                <c:pt idx="13">
                  <c:v>43472</c:v>
                </c:pt>
                <c:pt idx="14">
                  <c:v>43473</c:v>
                </c:pt>
                <c:pt idx="15">
                  <c:v>43473</c:v>
                </c:pt>
              </c:numCache>
            </c:numRef>
          </c:cat>
          <c:val>
            <c:numRef>
              <c:f>'2020 Regulation-down'!$T$11:$T$26</c:f>
              <c:numCache>
                <c:formatCode>General</c:formatCode>
                <c:ptCount val="16"/>
                <c:pt idx="0">
                  <c:v>9000</c:v>
                </c:pt>
                <c:pt idx="1">
                  <c:v>9000</c:v>
                </c:pt>
                <c:pt idx="2">
                  <c:v>9000</c:v>
                </c:pt>
                <c:pt idx="3">
                  <c:v>4500</c:v>
                </c:pt>
                <c:pt idx="4">
                  <c:v>4500</c:v>
                </c:pt>
                <c:pt idx="5">
                  <c:v>2250</c:v>
                </c:pt>
                <c:pt idx="6">
                  <c:v>2250</c:v>
                </c:pt>
                <c:pt idx="7">
                  <c:v>1000</c:v>
                </c:pt>
                <c:pt idx="8">
                  <c:v>1000</c:v>
                </c:pt>
                <c:pt idx="9">
                  <c:v>500</c:v>
                </c:pt>
                <c:pt idx="10">
                  <c:v>500</c:v>
                </c:pt>
                <c:pt idx="11">
                  <c:v>400</c:v>
                </c:pt>
                <c:pt idx="12">
                  <c:v>400</c:v>
                </c:pt>
                <c:pt idx="13">
                  <c:v>300</c:v>
                </c:pt>
                <c:pt idx="14">
                  <c:v>300</c:v>
                </c:pt>
                <c:pt idx="15">
                  <c:v>250</c:v>
                </c:pt>
              </c:numCache>
            </c:numRef>
          </c:val>
          <c:smooth val="0"/>
        </c:ser>
        <c:dLbls>
          <c:showLegendKey val="0"/>
          <c:showVal val="0"/>
          <c:showCatName val="0"/>
          <c:showSerName val="0"/>
          <c:showPercent val="0"/>
          <c:showBubbleSize val="0"/>
        </c:dLbls>
        <c:marker val="1"/>
        <c:smooth val="0"/>
        <c:axId val="102709120"/>
        <c:axId val="102710656"/>
      </c:lineChart>
      <c:dateAx>
        <c:axId val="102709120"/>
        <c:scaling>
          <c:orientation val="minMax"/>
        </c:scaling>
        <c:delete val="0"/>
        <c:axPos val="b"/>
        <c:numFmt formatCode="#,##0" sourceLinked="0"/>
        <c:majorTickMark val="out"/>
        <c:minorTickMark val="none"/>
        <c:tickLblPos val="none"/>
        <c:crossAx val="102710656"/>
        <c:crosses val="autoZero"/>
        <c:auto val="0"/>
        <c:lblOffset val="100"/>
        <c:baseTimeUnit val="days"/>
        <c:majorUnit val="1"/>
      </c:dateAx>
      <c:valAx>
        <c:axId val="102710656"/>
        <c:scaling>
          <c:orientation val="minMax"/>
        </c:scaling>
        <c:delete val="0"/>
        <c:axPos val="l"/>
        <c:majorGridlines/>
        <c:numFmt formatCode="General" sourceLinked="1"/>
        <c:majorTickMark val="out"/>
        <c:minorTickMark val="none"/>
        <c:tickLblPos val="nextTo"/>
        <c:crossAx val="102709120"/>
        <c:crosses val="autoZero"/>
        <c:crossBetween val="midCat"/>
      </c:valAx>
    </c:plotArea>
    <c:legend>
      <c:legendPos val="b"/>
      <c:layout>
        <c:manualLayout>
          <c:xMode val="edge"/>
          <c:yMode val="edge"/>
          <c:x val="0.11779939168349179"/>
          <c:y val="0.87803398537920574"/>
          <c:w val="0.36233904002705741"/>
          <c:h val="9.5546902660758215E-2"/>
        </c:manualLayout>
      </c:layout>
      <c:overlay val="0"/>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117751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grpSp>
        <p:nvGrpSpPr>
          <p:cNvPr id="6" name="Group 5"/>
          <p:cNvGrpSpPr/>
          <p:nvPr/>
        </p:nvGrpSpPr>
        <p:grpSpPr>
          <a:xfrm>
            <a:off x="423160" y="8627205"/>
            <a:ext cx="592601" cy="341535"/>
            <a:chOff x="1768475" y="3789363"/>
            <a:chExt cx="3098800" cy="1785938"/>
          </a:xfrm>
        </p:grpSpPr>
        <p:sp>
          <p:nvSpPr>
            <p:cNvPr id="7"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Rectangle 24"/>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30"/>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dirty="0"/>
              <a:t> </a:t>
            </a:r>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3"/>
          <p:cNvSpPr>
            <a:spLocks noGrp="1"/>
          </p:cNvSpPr>
          <p:nvPr>
            <p:ph type="ftr" sz="quarter" idx="4"/>
          </p:nvPr>
        </p:nvSpPr>
        <p:spPr>
          <a:xfrm>
            <a:off x="117751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9" name="Slide Number Placeholder 4"/>
          <p:cNvSpPr>
            <a:spLocks noGrp="1"/>
          </p:cNvSpPr>
          <p:nvPr>
            <p:ph type="sldNum" sz="quarter" idx="5"/>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grpSp>
        <p:nvGrpSpPr>
          <p:cNvPr id="10" name="Group 9"/>
          <p:cNvGrpSpPr/>
          <p:nvPr/>
        </p:nvGrpSpPr>
        <p:grpSpPr>
          <a:xfrm>
            <a:off x="423160" y="8627205"/>
            <a:ext cx="592601" cy="341535"/>
            <a:chOff x="1768475" y="3789363"/>
            <a:chExt cx="3098800" cy="1785938"/>
          </a:xfrm>
        </p:grpSpPr>
        <p:sp>
          <p:nvSpPr>
            <p:cNvPr id="11"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8"/>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Rectangle 34"/>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100" kern="1200" dirty="0" smtClean="0">
        <a:solidFill>
          <a:schemeClr val="tx1">
            <a:lumMod val="85000"/>
            <a:lumOff val="15000"/>
          </a:schemeClr>
        </a:solidFill>
        <a:latin typeface="Calibri" panose="020F050202020403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100" kern="1200">
        <a:solidFill>
          <a:schemeClr val="tx1">
            <a:lumMod val="85000"/>
            <a:lumOff val="15000"/>
          </a:schemeClr>
        </a:solidFill>
        <a:latin typeface="Calibri" panose="020F050202020403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100" kern="1200">
        <a:solidFill>
          <a:schemeClr val="tx1">
            <a:lumMod val="85000"/>
            <a:lumOff val="15000"/>
          </a:schemeClr>
        </a:solidFill>
        <a:latin typeface="Calibri" panose="020F050202020403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100" kern="1200">
        <a:solidFill>
          <a:schemeClr val="tx1">
            <a:lumMod val="85000"/>
            <a:lumOff val="15000"/>
          </a:schemeClr>
        </a:solidFill>
        <a:latin typeface="Calibri" panose="020F050202020403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100" kern="1200">
        <a:solidFill>
          <a:schemeClr val="tx1">
            <a:lumMod val="85000"/>
            <a:lumOff val="15000"/>
          </a:schemeClr>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endParaRPr lang="en-US"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a:lnSpc>
                <a:spcPct val="93000"/>
              </a:lnSpc>
            </a:pPr>
            <a:fld id="{CCF787FE-A727-45E5-A50B-58A9041FD46F}" type="slidenum">
              <a: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1</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Tree>
    <p:extLst>
      <p:ext uri="{BB962C8B-B14F-4D97-AF65-F5344CB8AC3E}">
        <p14:creationId xmlns:p14="http://schemas.microsoft.com/office/powerpoint/2010/main" val="14539786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3.jpeg"/><Relationship Id="rId7"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hyperlink" Target="https://www.youtube.com/user/AustinEnergyVideos" TargetMode="External"/><Relationship Id="rId5" Type="http://schemas.openxmlformats.org/officeDocument/2006/relationships/hyperlink" Target="https://twitter.com/austinenergy" TargetMode="External"/><Relationship Id="rId4" Type="http://schemas.openxmlformats.org/officeDocument/2006/relationships/hyperlink" Target="https://www.facebook.com/austinenergy" TargetMode="Externa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jp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hyperlink" Target="https://www.youtube.com/user/AustinEnergyVideos" TargetMode="External"/><Relationship Id="rId5" Type="http://schemas.openxmlformats.org/officeDocument/2006/relationships/hyperlink" Target="https://twitter.com/austinenergy" TargetMode="External"/><Relationship Id="rId4" Type="http://schemas.openxmlformats.org/officeDocument/2006/relationships/hyperlink" Target="https://www.facebook.com/austinenergy"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hyperlink" Target="https://www.youtube.com/user/AustinEnergyVideos" TargetMode="External"/><Relationship Id="rId5" Type="http://schemas.openxmlformats.org/officeDocument/2006/relationships/hyperlink" Target="https://twitter.com/austinenergy" TargetMode="External"/><Relationship Id="rId4" Type="http://schemas.openxmlformats.org/officeDocument/2006/relationships/hyperlink" Target="https://www.facebook.com/austinenergy" TargetMode="Externa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Master Title Slide">
    <p:spTree>
      <p:nvGrpSpPr>
        <p:cNvPr id="1" name=""/>
        <p:cNvGrpSpPr/>
        <p:nvPr/>
      </p:nvGrpSpPr>
      <p:grpSpPr>
        <a:xfrm>
          <a:off x="0" y="0"/>
          <a:ext cx="0" cy="0"/>
          <a:chOff x="0" y="0"/>
          <a:chExt cx="0" cy="0"/>
        </a:xfrm>
      </p:grpSpPr>
      <p:sp>
        <p:nvSpPr>
          <p:cNvPr id="76" name="Freeform: Shape 75">
            <a:extLst>
              <a:ext uri="{FF2B5EF4-FFF2-40B4-BE49-F238E27FC236}">
                <a16:creationId xmlns="" xmlns:a16="http://schemas.microsoft.com/office/drawing/2014/main" id="{86227A85-A027-49EF-8BE3-F786C5B42B59}"/>
              </a:ext>
            </a:extLst>
          </p:cNvPr>
          <p:cNvSpPr/>
          <p:nvPr userDrawn="1"/>
        </p:nvSpPr>
        <p:spPr>
          <a:xfrm>
            <a:off x="-10302" y="0"/>
            <a:ext cx="4559818" cy="6858008"/>
          </a:xfrm>
          <a:custGeom>
            <a:avLst/>
            <a:gdLst>
              <a:gd name="connsiteX0" fmla="*/ 0 w 4559818"/>
              <a:gd name="connsiteY0" fmla="*/ 0 h 6858008"/>
              <a:gd name="connsiteX1" fmla="*/ 3785343 w 4559818"/>
              <a:gd name="connsiteY1" fmla="*/ 0 h 6858008"/>
              <a:gd name="connsiteX2" fmla="*/ 3785343 w 4559818"/>
              <a:gd name="connsiteY2" fmla="*/ 7 h 6858008"/>
              <a:gd name="connsiteX3" fmla="*/ 3890839 w 4559818"/>
              <a:gd name="connsiteY3" fmla="*/ 8 h 6858008"/>
              <a:gd name="connsiteX4" fmla="*/ 4460230 w 4559818"/>
              <a:gd name="connsiteY4" fmla="*/ 2766069 h 6858008"/>
              <a:gd name="connsiteX5" fmla="*/ 4448692 w 4559818"/>
              <a:gd name="connsiteY5" fmla="*/ 4101493 h 6858008"/>
              <a:gd name="connsiteX6" fmla="*/ 3890837 w 4559818"/>
              <a:gd name="connsiteY6" fmla="*/ 6858008 h 6858008"/>
              <a:gd name="connsiteX7" fmla="*/ 1217929 w 4559818"/>
              <a:gd name="connsiteY7" fmla="*/ 6858008 h 6858008"/>
              <a:gd name="connsiteX8" fmla="*/ 996747 w 4559818"/>
              <a:gd name="connsiteY8" fmla="*/ 6858008 h 6858008"/>
              <a:gd name="connsiteX9" fmla="*/ 996747 w 4559818"/>
              <a:gd name="connsiteY9" fmla="*/ 6858002 h 6858008"/>
              <a:gd name="connsiteX10" fmla="*/ 3670491 w 4559818"/>
              <a:gd name="connsiteY10" fmla="*/ 6858003 h 6858008"/>
              <a:gd name="connsiteX11" fmla="*/ 3670493 w 4559818"/>
              <a:gd name="connsiteY11" fmla="*/ 6857996 h 6858008"/>
              <a:gd name="connsiteX12" fmla="*/ 0 w 4559818"/>
              <a:gd name="connsiteY12" fmla="*/ 6857996 h 685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59818" h="6858008">
                <a:moveTo>
                  <a:pt x="0" y="0"/>
                </a:moveTo>
                <a:lnTo>
                  <a:pt x="3785343" y="0"/>
                </a:lnTo>
                <a:lnTo>
                  <a:pt x="3785343" y="7"/>
                </a:lnTo>
                <a:lnTo>
                  <a:pt x="3890839" y="8"/>
                </a:lnTo>
                <a:lnTo>
                  <a:pt x="4460230" y="2766069"/>
                </a:lnTo>
                <a:cubicBezTo>
                  <a:pt x="4601491" y="3412207"/>
                  <a:pt x="4587819" y="3432552"/>
                  <a:pt x="4448692" y="4101493"/>
                </a:cubicBezTo>
                <a:lnTo>
                  <a:pt x="3890837" y="6858008"/>
                </a:lnTo>
                <a:lnTo>
                  <a:pt x="1217929" y="6858008"/>
                </a:lnTo>
                <a:lnTo>
                  <a:pt x="996747" y="6858008"/>
                </a:lnTo>
                <a:lnTo>
                  <a:pt x="996747" y="6858002"/>
                </a:lnTo>
                <a:lnTo>
                  <a:pt x="3670491" y="6858003"/>
                </a:lnTo>
                <a:lnTo>
                  <a:pt x="3670493" y="6857996"/>
                </a:lnTo>
                <a:lnTo>
                  <a:pt x="0" y="6857996"/>
                </a:lnTo>
                <a:close/>
              </a:path>
            </a:pathLst>
          </a:custGeom>
          <a:gradFill flip="none" rotWithShape="1">
            <a:gsLst>
              <a:gs pos="0">
                <a:srgbClr val="43484D">
                  <a:shade val="30000"/>
                  <a:satMod val="115000"/>
                </a:srgbClr>
              </a:gs>
              <a:gs pos="50000">
                <a:srgbClr val="43484D">
                  <a:shade val="67500"/>
                  <a:satMod val="115000"/>
                </a:srgbClr>
              </a:gs>
              <a:gs pos="100000">
                <a:srgbClr val="43484D">
                  <a:shade val="100000"/>
                  <a:satMod val="115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Freeform: Shape 97"/>
          <p:cNvSpPr/>
          <p:nvPr userDrawn="1"/>
        </p:nvSpPr>
        <p:spPr>
          <a:xfrm rot="16200000">
            <a:off x="-772953" y="1647466"/>
            <a:ext cx="6858003" cy="3563071"/>
          </a:xfrm>
          <a:custGeom>
            <a:avLst/>
            <a:gdLst>
              <a:gd name="connsiteX0" fmla="*/ 6858003 w 6858003"/>
              <a:gd name="connsiteY0" fmla="*/ 319806 h 3563071"/>
              <a:gd name="connsiteX1" fmla="*/ 6858002 w 6858003"/>
              <a:gd name="connsiteY1" fmla="*/ 2894092 h 3563071"/>
              <a:gd name="connsiteX2" fmla="*/ 4091941 w 6858003"/>
              <a:gd name="connsiteY2" fmla="*/ 3463483 h 3563071"/>
              <a:gd name="connsiteX3" fmla="*/ 2756517 w 6858003"/>
              <a:gd name="connsiteY3" fmla="*/ 3451945 h 3563071"/>
              <a:gd name="connsiteX4" fmla="*/ 1 w 6858003"/>
              <a:gd name="connsiteY4" fmla="*/ 2894090 h 3563071"/>
              <a:gd name="connsiteX5" fmla="*/ 1 w 6858003"/>
              <a:gd name="connsiteY5" fmla="*/ 2346278 h 3563071"/>
              <a:gd name="connsiteX6" fmla="*/ 0 w 6858003"/>
              <a:gd name="connsiteY6" fmla="*/ 2346278 h 3563071"/>
              <a:gd name="connsiteX7" fmla="*/ 0 w 6858003"/>
              <a:gd name="connsiteY7" fmla="*/ 0 h 3563071"/>
              <a:gd name="connsiteX8" fmla="*/ 6858002 w 6858003"/>
              <a:gd name="connsiteY8" fmla="*/ 0 h 3563071"/>
              <a:gd name="connsiteX9" fmla="*/ 6858002 w 6858003"/>
              <a:gd name="connsiteY9" fmla="*/ 319806 h 35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3" h="3563071">
                <a:moveTo>
                  <a:pt x="6858003" y="319806"/>
                </a:moveTo>
                <a:lnTo>
                  <a:pt x="6858002" y="2894092"/>
                </a:lnTo>
                <a:lnTo>
                  <a:pt x="4091941" y="3463483"/>
                </a:lnTo>
                <a:cubicBezTo>
                  <a:pt x="3445803" y="3604744"/>
                  <a:pt x="3425458" y="3591072"/>
                  <a:pt x="2756517" y="3451945"/>
                </a:cubicBezTo>
                <a:lnTo>
                  <a:pt x="1" y="2894090"/>
                </a:lnTo>
                <a:lnTo>
                  <a:pt x="1" y="2346278"/>
                </a:lnTo>
                <a:lnTo>
                  <a:pt x="0" y="2346278"/>
                </a:lnTo>
                <a:lnTo>
                  <a:pt x="0" y="0"/>
                </a:lnTo>
                <a:lnTo>
                  <a:pt x="6858002" y="0"/>
                </a:lnTo>
                <a:lnTo>
                  <a:pt x="6858002" y="319806"/>
                </a:lnTo>
                <a:close/>
              </a:path>
            </a:pathLst>
          </a:custGeom>
          <a:gradFill flip="none" rotWithShape="1">
            <a:gsLst>
              <a:gs pos="1000">
                <a:schemeClr val="tx1">
                  <a:alpha val="58000"/>
                </a:schemeClr>
              </a:gs>
              <a:gs pos="41000">
                <a:schemeClr val="tx1">
                  <a:lumMod val="85000"/>
                  <a:lumOff val="15000"/>
                  <a:alpha val="18000"/>
                </a:schemeClr>
              </a:gs>
              <a:gs pos="100000">
                <a:schemeClr val="tx1">
                  <a:lumMod val="85000"/>
                  <a:lumOff val="15000"/>
                  <a:alpha val="0"/>
                </a:schemeClr>
              </a:gs>
            </a:gsLst>
            <a:lin ang="16200000" scaled="1"/>
            <a:tileRect/>
          </a:gradFill>
          <a:ln>
            <a:noFill/>
          </a:ln>
        </p:spPr>
        <p:txBody>
          <a:bodyPr wrap="square" lIns="91425" tIns="45700" rIns="91425" bIns="45700" anchor="ctr" anchorCtr="0">
            <a:noAutofit/>
          </a:bodyPr>
          <a:lstStyle/>
          <a:p>
            <a:pPr marR="0" lvl="0" indent="0" algn="ctr">
              <a:spcBef>
                <a:spcPts val="0"/>
              </a:spcBef>
              <a:buNone/>
            </a:pPr>
            <a:endParaRPr sz="2700" b="0" i="0" u="none" strike="noStrike" cap="none">
              <a:solidFill>
                <a:schemeClr val="lt1"/>
              </a:solidFill>
              <a:latin typeface="Nunito Light"/>
              <a:ea typeface="Nunito Light"/>
              <a:cs typeface="Nunito Light"/>
              <a:sym typeface="Nunito Light"/>
            </a:endParaRPr>
          </a:p>
        </p:txBody>
      </p:sp>
      <p:sp>
        <p:nvSpPr>
          <p:cNvPr id="2" name="Title 1"/>
          <p:cNvSpPr>
            <a:spLocks noGrp="1"/>
          </p:cNvSpPr>
          <p:nvPr userDrawn="1">
            <p:ph type="ctrTitle" hasCustomPrompt="1"/>
          </p:nvPr>
        </p:nvSpPr>
        <p:spPr bwMode="gray">
          <a:xfrm>
            <a:off x="5211047" y="779959"/>
            <a:ext cx="6286534" cy="1107080"/>
          </a:xfrm>
        </p:spPr>
        <p:txBody>
          <a:bodyPr wrap="square" anchor="b">
            <a:noAutofit/>
          </a:bodyPr>
          <a:lstStyle>
            <a:lvl1pPr algn="l">
              <a:lnSpc>
                <a:spcPct val="80000"/>
              </a:lnSpc>
              <a:defRPr sz="4200" spc="0" baseline="0">
                <a:solidFill>
                  <a:schemeClr val="tx1">
                    <a:lumMod val="85000"/>
                    <a:lumOff val="15000"/>
                  </a:schemeClr>
                </a:solidFill>
                <a:latin typeface="Calibri" panose="020F0502020204030204" pitchFamily="34" charset="0"/>
                <a:cs typeface="Calibri" panose="020F0502020204030204" pitchFamily="34" charset="0"/>
              </a:defRPr>
            </a:lvl1pPr>
          </a:lstStyle>
          <a:p>
            <a:r>
              <a:rPr lang="en-US" dirty="0"/>
              <a:t>Click to edit Master title </a:t>
            </a:r>
            <a:br>
              <a:rPr lang="en-US" dirty="0"/>
            </a:br>
            <a:r>
              <a:rPr lang="en-US" dirty="0"/>
              <a:t>Second Line Title</a:t>
            </a:r>
          </a:p>
        </p:txBody>
      </p:sp>
      <p:sp>
        <p:nvSpPr>
          <p:cNvPr id="38" name="Text Placeholder 7"/>
          <p:cNvSpPr>
            <a:spLocks noGrp="1"/>
          </p:cNvSpPr>
          <p:nvPr userDrawn="1">
            <p:ph type="body" sz="quarter" idx="10" hasCustomPrompt="1"/>
          </p:nvPr>
        </p:nvSpPr>
        <p:spPr bwMode="gray">
          <a:xfrm>
            <a:off x="5201255" y="2641569"/>
            <a:ext cx="6294824" cy="368295"/>
          </a:xfrm>
        </p:spPr>
        <p:txBody>
          <a:bodyPr>
            <a:noAutofit/>
          </a:bodyPr>
          <a:lstStyle>
            <a:lvl1pPr marL="0" indent="0" algn="l">
              <a:spcBef>
                <a:spcPts val="0"/>
              </a:spcBef>
              <a:spcAft>
                <a:spcPts val="600"/>
              </a:spcAft>
              <a:buFont typeface="Microsoft Sans Serif" panose="020B0604020202020204" pitchFamily="34" charset="0"/>
              <a:buChar char="​"/>
              <a:defRPr sz="2200" b="0" spc="0" baseline="0">
                <a:solidFill>
                  <a:schemeClr val="tx1">
                    <a:lumMod val="85000"/>
                    <a:lumOff val="15000"/>
                  </a:schemeClr>
                </a:solidFill>
                <a:latin typeface="Calibri" panose="020F0502020204030204" pitchFamily="34" charset="0"/>
                <a:cs typeface="Calibri" panose="020F0502020204030204" pitchFamily="34" charset="0"/>
              </a:defRPr>
            </a:lvl1pPr>
            <a:lvl2pPr marL="0" indent="0" algn="l">
              <a:lnSpc>
                <a:spcPct val="98000"/>
              </a:lnSpc>
              <a:spcBef>
                <a:spcPts val="0"/>
              </a:spcBef>
              <a:buFont typeface="Microsoft Sans Serif" panose="020B0604020202020204" pitchFamily="34" charset="0"/>
              <a:buNone/>
              <a:defRPr sz="22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endParaRPr lang="en-US" dirty="0"/>
          </a:p>
        </p:txBody>
      </p:sp>
      <p:sp>
        <p:nvSpPr>
          <p:cNvPr id="121" name="Text Placeholder 7"/>
          <p:cNvSpPr>
            <a:spLocks noGrp="1"/>
          </p:cNvSpPr>
          <p:nvPr>
            <p:ph type="body" sz="quarter" idx="15" hasCustomPrompt="1"/>
          </p:nvPr>
        </p:nvSpPr>
        <p:spPr bwMode="gray">
          <a:xfrm>
            <a:off x="5201255" y="1911412"/>
            <a:ext cx="6294824" cy="573012"/>
          </a:xfrm>
        </p:spPr>
        <p:txBody>
          <a:bodyPr>
            <a:noAutofit/>
          </a:bodyPr>
          <a:lstStyle>
            <a:lvl1pPr marL="0" indent="0" algn="l">
              <a:spcBef>
                <a:spcPts val="0"/>
              </a:spcBef>
              <a:spcAft>
                <a:spcPts val="600"/>
              </a:spcAft>
              <a:buFont typeface="Microsoft Sans Serif" panose="020B0604020202020204" pitchFamily="34" charset="0"/>
              <a:buChar char="​"/>
              <a:defRPr lang="en-US" sz="3000" kern="1200" spc="0" baseline="0" dirty="0">
                <a:solidFill>
                  <a:schemeClr val="tx1">
                    <a:lumMod val="85000"/>
                    <a:lumOff val="15000"/>
                  </a:schemeClr>
                </a:solidFill>
                <a:latin typeface="Calibri" panose="020F0502020204030204" pitchFamily="34" charset="0"/>
                <a:ea typeface="+mj-ea"/>
                <a:cs typeface="Calibri" panose="020F0502020204030204" pitchFamily="34" charset="0"/>
              </a:defRPr>
            </a:lvl1pPr>
            <a:lvl2pPr marL="0" indent="0" algn="l">
              <a:lnSpc>
                <a:spcPct val="98000"/>
              </a:lnSpc>
              <a:spcBef>
                <a:spcPts val="0"/>
              </a:spcBef>
              <a:buFont typeface="Microsoft Sans Serif" panose="020B0604020202020204" pitchFamily="34" charset="0"/>
              <a:buNone/>
              <a:defRPr sz="22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Click to add Subtitle</a:t>
            </a:r>
          </a:p>
          <a:p>
            <a:pPr lvl="1"/>
            <a:endParaRPr lang="en-US" dirty="0"/>
          </a:p>
        </p:txBody>
      </p:sp>
      <p:sp>
        <p:nvSpPr>
          <p:cNvPr id="122" name="Text Placeholder 7"/>
          <p:cNvSpPr>
            <a:spLocks noGrp="1"/>
          </p:cNvSpPr>
          <p:nvPr>
            <p:ph type="body" sz="quarter" idx="16" hasCustomPrompt="1"/>
          </p:nvPr>
        </p:nvSpPr>
        <p:spPr bwMode="gray">
          <a:xfrm>
            <a:off x="5201255" y="3010059"/>
            <a:ext cx="6294824" cy="368295"/>
          </a:xfrm>
        </p:spPr>
        <p:txBody>
          <a:bodyPr>
            <a:noAutofit/>
          </a:bodyPr>
          <a:lstStyle>
            <a:lvl1pPr marL="0" indent="0" algn="l">
              <a:spcBef>
                <a:spcPts val="0"/>
              </a:spcBef>
              <a:spcAft>
                <a:spcPts val="600"/>
              </a:spcAft>
              <a:buFont typeface="Microsoft Sans Serif" panose="020B0604020202020204" pitchFamily="34" charset="0"/>
              <a:buChar char="​"/>
              <a:defRPr sz="1800" b="0" spc="0" baseline="0">
                <a:solidFill>
                  <a:schemeClr val="tx1">
                    <a:lumMod val="85000"/>
                    <a:lumOff val="15000"/>
                  </a:schemeClr>
                </a:solidFill>
                <a:latin typeface="Calibri" panose="020F0502020204030204" pitchFamily="34" charset="0"/>
                <a:cs typeface="Calibri" panose="020F0502020204030204" pitchFamily="34" charset="0"/>
              </a:defRPr>
            </a:lvl1pPr>
            <a:lvl2pPr marL="0" indent="0" algn="l">
              <a:lnSpc>
                <a:spcPct val="98000"/>
              </a:lnSpc>
              <a:spcBef>
                <a:spcPts val="0"/>
              </a:spcBef>
              <a:buFont typeface="Microsoft Sans Serif" panose="020B0604020202020204" pitchFamily="34" charset="0"/>
              <a:buNone/>
              <a:defRPr sz="18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title</a:t>
            </a:r>
          </a:p>
          <a:p>
            <a:pPr lvl="1"/>
            <a:endParaRPr lang="en-US" dirty="0"/>
          </a:p>
        </p:txBody>
      </p:sp>
      <p:sp>
        <p:nvSpPr>
          <p:cNvPr id="146" name="Text Placeholder 5">
            <a:extLst/>
          </p:cNvPr>
          <p:cNvSpPr>
            <a:spLocks noGrp="1"/>
          </p:cNvSpPr>
          <p:nvPr>
            <p:ph type="body" sz="quarter" idx="13" hasCustomPrompt="1"/>
          </p:nvPr>
        </p:nvSpPr>
        <p:spPr bwMode="gray">
          <a:xfrm>
            <a:off x="5185351" y="6158542"/>
            <a:ext cx="2620484" cy="172807"/>
          </a:xfrm>
        </p:spPr>
        <p:txBody>
          <a:bodyPr/>
          <a:lstStyle>
            <a:lvl1pPr marL="0" indent="0" algn="l">
              <a:lnSpc>
                <a:spcPct val="98000"/>
              </a:lnSpc>
              <a:spcBef>
                <a:spcPts val="0"/>
              </a:spcBef>
              <a:buNone/>
              <a:defRPr sz="1300" b="0">
                <a:solidFill>
                  <a:schemeClr val="tx1">
                    <a:lumMod val="85000"/>
                    <a:lumOff val="15000"/>
                  </a:schemeClr>
                </a:solidFill>
                <a:latin typeface="+mj-lt"/>
                <a:cs typeface="Arial" panose="020B0604020202020204" pitchFamily="34" charset="0"/>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Date</a:t>
            </a:r>
          </a:p>
        </p:txBody>
      </p:sp>
      <p:sp>
        <p:nvSpPr>
          <p:cNvPr id="79" name="Freeform: Shape 78"/>
          <p:cNvSpPr/>
          <p:nvPr userDrawn="1"/>
        </p:nvSpPr>
        <p:spPr>
          <a:xfrm rot="16200000">
            <a:off x="-650718" y="1647471"/>
            <a:ext cx="6858001" cy="3563071"/>
          </a:xfrm>
          <a:custGeom>
            <a:avLst/>
            <a:gdLst>
              <a:gd name="connsiteX0" fmla="*/ 6858001 w 6858001"/>
              <a:gd name="connsiteY0" fmla="*/ 2673747 h 3563071"/>
              <a:gd name="connsiteX1" fmla="*/ 6858000 w 6858001"/>
              <a:gd name="connsiteY1" fmla="*/ 2894092 h 3563071"/>
              <a:gd name="connsiteX2" fmla="*/ 4091939 w 6858001"/>
              <a:gd name="connsiteY2" fmla="*/ 3463483 h 3563071"/>
              <a:gd name="connsiteX3" fmla="*/ 2756515 w 6858001"/>
              <a:gd name="connsiteY3" fmla="*/ 3451945 h 3563071"/>
              <a:gd name="connsiteX4" fmla="*/ 0 w 6858001"/>
              <a:gd name="connsiteY4" fmla="*/ 2894090 h 3563071"/>
              <a:gd name="connsiteX5" fmla="*/ 0 w 6858001"/>
              <a:gd name="connsiteY5" fmla="*/ 221182 h 3563071"/>
              <a:gd name="connsiteX6" fmla="*/ 0 w 6858001"/>
              <a:gd name="connsiteY6" fmla="*/ 0 h 3563071"/>
              <a:gd name="connsiteX7" fmla="*/ 6 w 6858001"/>
              <a:gd name="connsiteY7" fmla="*/ 0 h 3563071"/>
              <a:gd name="connsiteX8" fmla="*/ 5 w 6858001"/>
              <a:gd name="connsiteY8" fmla="*/ 2673744 h 3563071"/>
              <a:gd name="connsiteX9" fmla="*/ 2756520 w 6858001"/>
              <a:gd name="connsiteY9" fmla="*/ 3231600 h 3563071"/>
              <a:gd name="connsiteX10" fmla="*/ 4091944 w 6858001"/>
              <a:gd name="connsiteY10" fmla="*/ 3243137 h 3563071"/>
              <a:gd name="connsiteX11" fmla="*/ 6858001 w 6858001"/>
              <a:gd name="connsiteY11" fmla="*/ 2673747 h 35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1" h="3563071">
                <a:moveTo>
                  <a:pt x="6858001" y="2673747"/>
                </a:moveTo>
                <a:lnTo>
                  <a:pt x="6858000" y="2894092"/>
                </a:lnTo>
                <a:lnTo>
                  <a:pt x="4091939" y="3463483"/>
                </a:lnTo>
                <a:cubicBezTo>
                  <a:pt x="3445801" y="3604744"/>
                  <a:pt x="3425456" y="3591072"/>
                  <a:pt x="2756515" y="3451945"/>
                </a:cubicBezTo>
                <a:lnTo>
                  <a:pt x="0" y="2894090"/>
                </a:lnTo>
                <a:lnTo>
                  <a:pt x="0" y="221182"/>
                </a:lnTo>
                <a:lnTo>
                  <a:pt x="0" y="0"/>
                </a:lnTo>
                <a:lnTo>
                  <a:pt x="6" y="0"/>
                </a:lnTo>
                <a:lnTo>
                  <a:pt x="5" y="2673744"/>
                </a:lnTo>
                <a:lnTo>
                  <a:pt x="2756520" y="3231600"/>
                </a:lnTo>
                <a:cubicBezTo>
                  <a:pt x="3425461" y="3370727"/>
                  <a:pt x="3445806" y="3384399"/>
                  <a:pt x="4091944" y="3243137"/>
                </a:cubicBezTo>
                <a:lnTo>
                  <a:pt x="6858001" y="2673747"/>
                </a:lnTo>
                <a:close/>
              </a:path>
            </a:pathLst>
          </a:custGeom>
          <a:gradFill flip="none" rotWithShape="1">
            <a:gsLst>
              <a:gs pos="0">
                <a:schemeClr val="accent1">
                  <a:shade val="67500"/>
                  <a:satMod val="115000"/>
                </a:schemeClr>
              </a:gs>
              <a:gs pos="96629">
                <a:srgbClr val="FFC000"/>
              </a:gs>
              <a:gs pos="83000">
                <a:srgbClr val="FF8E0D"/>
              </a:gs>
              <a:gs pos="55000">
                <a:schemeClr val="accent1">
                  <a:shade val="100000"/>
                  <a:satMod val="115000"/>
                </a:schemeClr>
              </a:gs>
            </a:gsLst>
            <a:lin ang="8100000" scaled="1"/>
            <a:tileRect/>
          </a:gradFill>
          <a:ln>
            <a:noFill/>
          </a:ln>
          <a:effectLst/>
        </p:spPr>
        <p:txBody>
          <a:bodyPr wrap="square" lIns="91425" tIns="45700" rIns="91425" bIns="45700" anchor="ctr" anchorCtr="0">
            <a:noAutofit/>
          </a:bodyPr>
          <a:lstStyle/>
          <a:p>
            <a:pPr marR="0" lvl="0" indent="0" algn="ctr">
              <a:spcBef>
                <a:spcPts val="0"/>
              </a:spcBef>
              <a:buNone/>
            </a:pPr>
            <a:endParaRPr sz="2700" dirty="0">
              <a:latin typeface="Nunito Light"/>
              <a:ea typeface="Nunito Light"/>
              <a:cs typeface="Nunito Light"/>
              <a:sym typeface="Nunito Light"/>
            </a:endParaRPr>
          </a:p>
        </p:txBody>
      </p:sp>
      <p:sp>
        <p:nvSpPr>
          <p:cNvPr id="82" name="Footer Placeholder 5"/>
          <p:cNvSpPr txBox="1">
            <a:spLocks/>
          </p:cNvSpPr>
          <p:nvPr userDrawn="1"/>
        </p:nvSpPr>
        <p:spPr>
          <a:xfrm>
            <a:off x="5097314" y="6374316"/>
            <a:ext cx="3177303" cy="151588"/>
          </a:xfrm>
          <a:prstGeom prst="rect">
            <a:avLst/>
          </a:prstGeom>
        </p:spPr>
        <p:txBody>
          <a:bodyPr/>
          <a:lstStyle>
            <a:defPPr>
              <a:defRPr lang="en-US"/>
            </a:defPPr>
            <a:lvl1pPr marL="0" algn="l" defTabSz="914400" rtl="0" eaLnBrk="1" latinLnBrk="0" hangingPunct="1">
              <a:defRPr sz="1000" kern="1200">
                <a:solidFill>
                  <a:schemeClr val="tx1">
                    <a:lumMod val="85000"/>
                    <a:lumOff val="1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bg2"/>
                </a:solidFill>
              </a:rPr>
              <a:t>© </a:t>
            </a:r>
            <a:r>
              <a:rPr lang="en-US" dirty="0" smtClean="0">
                <a:solidFill>
                  <a:schemeClr val="bg2"/>
                </a:solidFill>
              </a:rPr>
              <a:t>2019 </a:t>
            </a:r>
            <a:r>
              <a:rPr lang="en-US" dirty="0">
                <a:solidFill>
                  <a:schemeClr val="bg2"/>
                </a:solidFill>
              </a:rPr>
              <a:t>Austin Energy</a:t>
            </a:r>
          </a:p>
        </p:txBody>
      </p:sp>
      <p:grpSp>
        <p:nvGrpSpPr>
          <p:cNvPr id="77" name="Group 76">
            <a:extLst>
              <a:ext uri="{FF2B5EF4-FFF2-40B4-BE49-F238E27FC236}">
                <a16:creationId xmlns="" xmlns:a16="http://schemas.microsoft.com/office/drawing/2014/main" id="{56E8D2CF-1403-4F9A-B14C-0A733D86C747}"/>
              </a:ext>
            </a:extLst>
          </p:cNvPr>
          <p:cNvGrpSpPr>
            <a:grpSpLocks noChangeAspect="1"/>
          </p:cNvGrpSpPr>
          <p:nvPr userDrawn="1"/>
        </p:nvGrpSpPr>
        <p:grpSpPr>
          <a:xfrm>
            <a:off x="5167260" y="4552950"/>
            <a:ext cx="3981847" cy="1273424"/>
            <a:chOff x="2509594" y="1483313"/>
            <a:chExt cx="7596974" cy="2429568"/>
          </a:xfrm>
        </p:grpSpPr>
        <p:grpSp>
          <p:nvGrpSpPr>
            <p:cNvPr id="78" name="Group 77">
              <a:extLst>
                <a:ext uri="{FF2B5EF4-FFF2-40B4-BE49-F238E27FC236}">
                  <a16:creationId xmlns="" xmlns:a16="http://schemas.microsoft.com/office/drawing/2014/main" id="{FC8C4054-F47F-48A1-8AED-69AC509CEABD}"/>
                </a:ext>
              </a:extLst>
            </p:cNvPr>
            <p:cNvGrpSpPr/>
            <p:nvPr userDrawn="1"/>
          </p:nvGrpSpPr>
          <p:grpSpPr>
            <a:xfrm>
              <a:off x="6919188" y="1772058"/>
              <a:ext cx="3187380" cy="1836254"/>
              <a:chOff x="6545263" y="1928813"/>
              <a:chExt cx="3494088" cy="2012950"/>
            </a:xfrm>
          </p:grpSpPr>
          <p:sp>
            <p:nvSpPr>
              <p:cNvPr id="84" name="Freeform 6">
                <a:extLst>
                  <a:ext uri="{FF2B5EF4-FFF2-40B4-BE49-F238E27FC236}">
                    <a16:creationId xmlns="" xmlns:a16="http://schemas.microsoft.com/office/drawing/2014/main" id="{5B203EC0-D016-4A6C-A90F-252B18A13FA8}"/>
                  </a:ext>
                </a:extLst>
              </p:cNvPr>
              <p:cNvSpPr>
                <a:spLocks/>
              </p:cNvSpPr>
              <p:nvPr userDrawn="1"/>
            </p:nvSpPr>
            <p:spPr bwMode="auto">
              <a:xfrm>
                <a:off x="6564313" y="1944688"/>
                <a:ext cx="3457575" cy="1979613"/>
              </a:xfrm>
              <a:custGeom>
                <a:avLst/>
                <a:gdLst>
                  <a:gd name="T0" fmla="*/ 662 w 2178"/>
                  <a:gd name="T1" fmla="*/ 0 h 1247"/>
                  <a:gd name="T2" fmla="*/ 670 w 2178"/>
                  <a:gd name="T3" fmla="*/ 2 h 1247"/>
                  <a:gd name="T4" fmla="*/ 1333 w 2178"/>
                  <a:gd name="T5" fmla="*/ 183 h 1247"/>
                  <a:gd name="T6" fmla="*/ 1532 w 2178"/>
                  <a:gd name="T7" fmla="*/ 208 h 1247"/>
                  <a:gd name="T8" fmla="*/ 1713 w 2178"/>
                  <a:gd name="T9" fmla="*/ 247 h 1247"/>
                  <a:gd name="T10" fmla="*/ 1869 w 2178"/>
                  <a:gd name="T11" fmla="*/ 298 h 1247"/>
                  <a:gd name="T12" fmla="*/ 1999 w 2178"/>
                  <a:gd name="T13" fmla="*/ 360 h 1247"/>
                  <a:gd name="T14" fmla="*/ 2095 w 2178"/>
                  <a:gd name="T15" fmla="*/ 429 h 1247"/>
                  <a:gd name="T16" fmla="*/ 2157 w 2178"/>
                  <a:gd name="T17" fmla="*/ 508 h 1247"/>
                  <a:gd name="T18" fmla="*/ 2178 w 2178"/>
                  <a:gd name="T19" fmla="*/ 591 h 1247"/>
                  <a:gd name="T20" fmla="*/ 2160 w 2178"/>
                  <a:gd name="T21" fmla="*/ 667 h 1247"/>
                  <a:gd name="T22" fmla="*/ 2106 w 2178"/>
                  <a:gd name="T23" fmla="*/ 740 h 1247"/>
                  <a:gd name="T24" fmla="*/ 2021 w 2178"/>
                  <a:gd name="T25" fmla="*/ 806 h 1247"/>
                  <a:gd name="T26" fmla="*/ 1908 w 2178"/>
                  <a:gd name="T27" fmla="*/ 865 h 1247"/>
                  <a:gd name="T28" fmla="*/ 1771 w 2178"/>
                  <a:gd name="T29" fmla="*/ 916 h 1247"/>
                  <a:gd name="T30" fmla="*/ 1762 w 2178"/>
                  <a:gd name="T31" fmla="*/ 972 h 1247"/>
                  <a:gd name="T32" fmla="*/ 1588 w 2178"/>
                  <a:gd name="T33" fmla="*/ 1009 h 1247"/>
                  <a:gd name="T34" fmla="*/ 1855 w 2178"/>
                  <a:gd name="T35" fmla="*/ 1202 h 1247"/>
                  <a:gd name="T36" fmla="*/ 1866 w 2178"/>
                  <a:gd name="T37" fmla="*/ 1211 h 1247"/>
                  <a:gd name="T38" fmla="*/ 1869 w 2178"/>
                  <a:gd name="T39" fmla="*/ 1225 h 1247"/>
                  <a:gd name="T40" fmla="*/ 1857 w 2178"/>
                  <a:gd name="T41" fmla="*/ 1244 h 1247"/>
                  <a:gd name="T42" fmla="*/ 1837 w 2178"/>
                  <a:gd name="T43" fmla="*/ 1247 h 1247"/>
                  <a:gd name="T44" fmla="*/ 910 w 2178"/>
                  <a:gd name="T45" fmla="*/ 1002 h 1247"/>
                  <a:gd name="T46" fmla="*/ 710 w 2178"/>
                  <a:gd name="T47" fmla="*/ 982 h 1247"/>
                  <a:gd name="T48" fmla="*/ 529 w 2178"/>
                  <a:gd name="T49" fmla="*/ 948 h 1247"/>
                  <a:gd name="T50" fmla="*/ 367 w 2178"/>
                  <a:gd name="T51" fmla="*/ 902 h 1247"/>
                  <a:gd name="T52" fmla="*/ 230 w 2178"/>
                  <a:gd name="T53" fmla="*/ 847 h 1247"/>
                  <a:gd name="T54" fmla="*/ 121 w 2178"/>
                  <a:gd name="T55" fmla="*/ 782 h 1247"/>
                  <a:gd name="T56" fmla="*/ 46 w 2178"/>
                  <a:gd name="T57" fmla="*/ 710 h 1247"/>
                  <a:gd name="T58" fmla="*/ 7 w 2178"/>
                  <a:gd name="T59" fmla="*/ 631 h 1247"/>
                  <a:gd name="T60" fmla="*/ 5 w 2178"/>
                  <a:gd name="T61" fmla="*/ 551 h 1247"/>
                  <a:gd name="T62" fmla="*/ 40 w 2178"/>
                  <a:gd name="T63" fmla="*/ 478 h 1247"/>
                  <a:gd name="T64" fmla="*/ 108 w 2178"/>
                  <a:gd name="T65" fmla="*/ 410 h 1247"/>
                  <a:gd name="T66" fmla="*/ 204 w 2178"/>
                  <a:gd name="T67" fmla="*/ 347 h 1247"/>
                  <a:gd name="T68" fmla="*/ 327 w 2178"/>
                  <a:gd name="T69" fmla="*/ 292 h 1247"/>
                  <a:gd name="T70" fmla="*/ 318 w 2178"/>
                  <a:gd name="T71" fmla="*/ 240 h 1247"/>
                  <a:gd name="T72" fmla="*/ 484 w 2178"/>
                  <a:gd name="T73" fmla="*/ 195 h 1247"/>
                  <a:gd name="T74" fmla="*/ 192 w 2178"/>
                  <a:gd name="T75" fmla="*/ 41 h 1247"/>
                  <a:gd name="T76" fmla="*/ 183 w 2178"/>
                  <a:gd name="T77" fmla="*/ 33 h 1247"/>
                  <a:gd name="T78" fmla="*/ 180 w 2178"/>
                  <a:gd name="T79" fmla="*/ 21 h 1247"/>
                  <a:gd name="T80" fmla="*/ 183 w 2178"/>
                  <a:gd name="T81" fmla="*/ 9 h 1247"/>
                  <a:gd name="T82" fmla="*/ 194 w 2178"/>
                  <a:gd name="T83" fmla="*/ 2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8" h="1247">
                    <a:moveTo>
                      <a:pt x="201" y="0"/>
                    </a:moveTo>
                    <a:lnTo>
                      <a:pt x="662" y="0"/>
                    </a:lnTo>
                    <a:lnTo>
                      <a:pt x="667" y="2"/>
                    </a:lnTo>
                    <a:lnTo>
                      <a:pt x="670" y="2"/>
                    </a:lnTo>
                    <a:lnTo>
                      <a:pt x="1227" y="177"/>
                    </a:lnTo>
                    <a:lnTo>
                      <a:pt x="1333" y="183"/>
                    </a:lnTo>
                    <a:lnTo>
                      <a:pt x="1435" y="195"/>
                    </a:lnTo>
                    <a:lnTo>
                      <a:pt x="1532" y="208"/>
                    </a:lnTo>
                    <a:lnTo>
                      <a:pt x="1626" y="226"/>
                    </a:lnTo>
                    <a:lnTo>
                      <a:pt x="1713" y="247"/>
                    </a:lnTo>
                    <a:lnTo>
                      <a:pt x="1793" y="271"/>
                    </a:lnTo>
                    <a:lnTo>
                      <a:pt x="1869" y="298"/>
                    </a:lnTo>
                    <a:lnTo>
                      <a:pt x="1937" y="329"/>
                    </a:lnTo>
                    <a:lnTo>
                      <a:pt x="1999" y="360"/>
                    </a:lnTo>
                    <a:lnTo>
                      <a:pt x="2051" y="393"/>
                    </a:lnTo>
                    <a:lnTo>
                      <a:pt x="2095" y="429"/>
                    </a:lnTo>
                    <a:lnTo>
                      <a:pt x="2132" y="469"/>
                    </a:lnTo>
                    <a:lnTo>
                      <a:pt x="2157" y="508"/>
                    </a:lnTo>
                    <a:lnTo>
                      <a:pt x="2172" y="548"/>
                    </a:lnTo>
                    <a:lnTo>
                      <a:pt x="2178" y="591"/>
                    </a:lnTo>
                    <a:lnTo>
                      <a:pt x="2174" y="630"/>
                    </a:lnTo>
                    <a:lnTo>
                      <a:pt x="2160" y="667"/>
                    </a:lnTo>
                    <a:lnTo>
                      <a:pt x="2138" y="704"/>
                    </a:lnTo>
                    <a:lnTo>
                      <a:pt x="2106" y="740"/>
                    </a:lnTo>
                    <a:lnTo>
                      <a:pt x="2068" y="774"/>
                    </a:lnTo>
                    <a:lnTo>
                      <a:pt x="2021" y="806"/>
                    </a:lnTo>
                    <a:lnTo>
                      <a:pt x="1968" y="836"/>
                    </a:lnTo>
                    <a:lnTo>
                      <a:pt x="1908" y="865"/>
                    </a:lnTo>
                    <a:lnTo>
                      <a:pt x="1843" y="892"/>
                    </a:lnTo>
                    <a:lnTo>
                      <a:pt x="1771" y="916"/>
                    </a:lnTo>
                    <a:lnTo>
                      <a:pt x="1694" y="937"/>
                    </a:lnTo>
                    <a:lnTo>
                      <a:pt x="1762" y="972"/>
                    </a:lnTo>
                    <a:lnTo>
                      <a:pt x="1677" y="991"/>
                    </a:lnTo>
                    <a:lnTo>
                      <a:pt x="1588" y="1009"/>
                    </a:lnTo>
                    <a:lnTo>
                      <a:pt x="1494" y="1023"/>
                    </a:lnTo>
                    <a:lnTo>
                      <a:pt x="1855" y="1202"/>
                    </a:lnTo>
                    <a:lnTo>
                      <a:pt x="1861" y="1207"/>
                    </a:lnTo>
                    <a:lnTo>
                      <a:pt x="1866" y="1211"/>
                    </a:lnTo>
                    <a:lnTo>
                      <a:pt x="1869" y="1217"/>
                    </a:lnTo>
                    <a:lnTo>
                      <a:pt x="1869" y="1225"/>
                    </a:lnTo>
                    <a:lnTo>
                      <a:pt x="1866" y="1237"/>
                    </a:lnTo>
                    <a:lnTo>
                      <a:pt x="1857" y="1244"/>
                    </a:lnTo>
                    <a:lnTo>
                      <a:pt x="1845" y="1247"/>
                    </a:lnTo>
                    <a:lnTo>
                      <a:pt x="1837" y="1247"/>
                    </a:lnTo>
                    <a:lnTo>
                      <a:pt x="1014" y="1006"/>
                    </a:lnTo>
                    <a:lnTo>
                      <a:pt x="910" y="1002"/>
                    </a:lnTo>
                    <a:lnTo>
                      <a:pt x="809" y="994"/>
                    </a:lnTo>
                    <a:lnTo>
                      <a:pt x="710" y="982"/>
                    </a:lnTo>
                    <a:lnTo>
                      <a:pt x="617" y="967"/>
                    </a:lnTo>
                    <a:lnTo>
                      <a:pt x="529" y="948"/>
                    </a:lnTo>
                    <a:lnTo>
                      <a:pt x="445" y="926"/>
                    </a:lnTo>
                    <a:lnTo>
                      <a:pt x="367" y="902"/>
                    </a:lnTo>
                    <a:lnTo>
                      <a:pt x="295" y="875"/>
                    </a:lnTo>
                    <a:lnTo>
                      <a:pt x="230" y="847"/>
                    </a:lnTo>
                    <a:lnTo>
                      <a:pt x="173" y="815"/>
                    </a:lnTo>
                    <a:lnTo>
                      <a:pt x="121" y="782"/>
                    </a:lnTo>
                    <a:lnTo>
                      <a:pt x="79" y="747"/>
                    </a:lnTo>
                    <a:lnTo>
                      <a:pt x="46" y="710"/>
                    </a:lnTo>
                    <a:lnTo>
                      <a:pt x="22" y="670"/>
                    </a:lnTo>
                    <a:lnTo>
                      <a:pt x="7" y="631"/>
                    </a:lnTo>
                    <a:lnTo>
                      <a:pt x="0" y="591"/>
                    </a:lnTo>
                    <a:lnTo>
                      <a:pt x="5" y="551"/>
                    </a:lnTo>
                    <a:lnTo>
                      <a:pt x="19" y="514"/>
                    </a:lnTo>
                    <a:lnTo>
                      <a:pt x="40" y="478"/>
                    </a:lnTo>
                    <a:lnTo>
                      <a:pt x="70" y="443"/>
                    </a:lnTo>
                    <a:lnTo>
                      <a:pt x="108" y="410"/>
                    </a:lnTo>
                    <a:lnTo>
                      <a:pt x="153" y="377"/>
                    </a:lnTo>
                    <a:lnTo>
                      <a:pt x="204" y="347"/>
                    </a:lnTo>
                    <a:lnTo>
                      <a:pt x="263" y="318"/>
                    </a:lnTo>
                    <a:lnTo>
                      <a:pt x="327" y="292"/>
                    </a:lnTo>
                    <a:lnTo>
                      <a:pt x="398" y="268"/>
                    </a:lnTo>
                    <a:lnTo>
                      <a:pt x="318" y="240"/>
                    </a:lnTo>
                    <a:lnTo>
                      <a:pt x="398" y="216"/>
                    </a:lnTo>
                    <a:lnTo>
                      <a:pt x="484" y="195"/>
                    </a:lnTo>
                    <a:lnTo>
                      <a:pt x="573" y="177"/>
                    </a:lnTo>
                    <a:lnTo>
                      <a:pt x="192" y="41"/>
                    </a:lnTo>
                    <a:lnTo>
                      <a:pt x="188" y="38"/>
                    </a:lnTo>
                    <a:lnTo>
                      <a:pt x="183" y="33"/>
                    </a:lnTo>
                    <a:lnTo>
                      <a:pt x="180" y="29"/>
                    </a:lnTo>
                    <a:lnTo>
                      <a:pt x="180" y="21"/>
                    </a:lnTo>
                    <a:lnTo>
                      <a:pt x="180" y="15"/>
                    </a:lnTo>
                    <a:lnTo>
                      <a:pt x="183" y="9"/>
                    </a:lnTo>
                    <a:lnTo>
                      <a:pt x="188" y="5"/>
                    </a:lnTo>
                    <a:lnTo>
                      <a:pt x="194" y="2"/>
                    </a:lnTo>
                    <a:lnTo>
                      <a:pt x="2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
                <a:extLst>
                  <a:ext uri="{FF2B5EF4-FFF2-40B4-BE49-F238E27FC236}">
                    <a16:creationId xmlns="" xmlns:a16="http://schemas.microsoft.com/office/drawing/2014/main" id="{FFECB028-685B-4D7F-B1B9-FF054C8F1B17}"/>
                  </a:ext>
                </a:extLst>
              </p:cNvPr>
              <p:cNvSpPr>
                <a:spLocks/>
              </p:cNvSpPr>
              <p:nvPr userDrawn="1"/>
            </p:nvSpPr>
            <p:spPr bwMode="auto">
              <a:xfrm>
                <a:off x="6702425" y="2349500"/>
                <a:ext cx="3190875" cy="1060450"/>
              </a:xfrm>
              <a:custGeom>
                <a:avLst/>
                <a:gdLst>
                  <a:gd name="T0" fmla="*/ 1107 w 2010"/>
                  <a:gd name="T1" fmla="*/ 1 h 668"/>
                  <a:gd name="T2" fmla="*/ 1303 w 2010"/>
                  <a:gd name="T3" fmla="*/ 15 h 668"/>
                  <a:gd name="T4" fmla="*/ 1484 w 2010"/>
                  <a:gd name="T5" fmla="*/ 40 h 668"/>
                  <a:gd name="T6" fmla="*/ 1644 w 2010"/>
                  <a:gd name="T7" fmla="*/ 77 h 668"/>
                  <a:gd name="T8" fmla="*/ 1780 w 2010"/>
                  <a:gd name="T9" fmla="*/ 122 h 668"/>
                  <a:gd name="T10" fmla="*/ 1887 w 2010"/>
                  <a:gd name="T11" fmla="*/ 174 h 668"/>
                  <a:gd name="T12" fmla="*/ 1964 w 2010"/>
                  <a:gd name="T13" fmla="*/ 235 h 668"/>
                  <a:gd name="T14" fmla="*/ 2004 w 2010"/>
                  <a:gd name="T15" fmla="*/ 299 h 668"/>
                  <a:gd name="T16" fmla="*/ 2005 w 2010"/>
                  <a:gd name="T17" fmla="*/ 364 h 668"/>
                  <a:gd name="T18" fmla="*/ 1975 w 2010"/>
                  <a:gd name="T19" fmla="*/ 421 h 668"/>
                  <a:gd name="T20" fmla="*/ 1903 w 2010"/>
                  <a:gd name="T21" fmla="*/ 477 h 668"/>
                  <a:gd name="T22" fmla="*/ 1798 w 2010"/>
                  <a:gd name="T23" fmla="*/ 522 h 668"/>
                  <a:gd name="T24" fmla="*/ 1665 w 2010"/>
                  <a:gd name="T25" fmla="*/ 557 h 668"/>
                  <a:gd name="T26" fmla="*/ 1507 w 2010"/>
                  <a:gd name="T27" fmla="*/ 580 h 668"/>
                  <a:gd name="T28" fmla="*/ 1498 w 2010"/>
                  <a:gd name="T29" fmla="*/ 625 h 668"/>
                  <a:gd name="T30" fmla="*/ 1314 w 2010"/>
                  <a:gd name="T31" fmla="*/ 652 h 668"/>
                  <a:gd name="T32" fmla="*/ 1111 w 2010"/>
                  <a:gd name="T33" fmla="*/ 667 h 668"/>
                  <a:gd name="T34" fmla="*/ 901 w 2010"/>
                  <a:gd name="T35" fmla="*/ 667 h 668"/>
                  <a:gd name="T36" fmla="*/ 705 w 2010"/>
                  <a:gd name="T37" fmla="*/ 653 h 668"/>
                  <a:gd name="T38" fmla="*/ 525 w 2010"/>
                  <a:gd name="T39" fmla="*/ 628 h 668"/>
                  <a:gd name="T40" fmla="*/ 365 w 2010"/>
                  <a:gd name="T41" fmla="*/ 592 h 668"/>
                  <a:gd name="T42" fmla="*/ 229 w 2010"/>
                  <a:gd name="T43" fmla="*/ 546 h 668"/>
                  <a:gd name="T44" fmla="*/ 120 w 2010"/>
                  <a:gd name="T45" fmla="*/ 494 h 668"/>
                  <a:gd name="T46" fmla="*/ 45 w 2010"/>
                  <a:gd name="T47" fmla="*/ 434 h 668"/>
                  <a:gd name="T48" fmla="*/ 4 w 2010"/>
                  <a:gd name="T49" fmla="*/ 369 h 668"/>
                  <a:gd name="T50" fmla="*/ 3 w 2010"/>
                  <a:gd name="T51" fmla="*/ 304 h 668"/>
                  <a:gd name="T52" fmla="*/ 33 w 2010"/>
                  <a:gd name="T53" fmla="*/ 248 h 668"/>
                  <a:gd name="T54" fmla="*/ 93 w 2010"/>
                  <a:gd name="T55" fmla="*/ 196 h 668"/>
                  <a:gd name="T56" fmla="*/ 185 w 2010"/>
                  <a:gd name="T57" fmla="*/ 152 h 668"/>
                  <a:gd name="T58" fmla="*/ 302 w 2010"/>
                  <a:gd name="T59" fmla="*/ 117 h 668"/>
                  <a:gd name="T60" fmla="*/ 439 w 2010"/>
                  <a:gd name="T61" fmla="*/ 93 h 668"/>
                  <a:gd name="T62" fmla="*/ 441 w 2010"/>
                  <a:gd name="T63" fmla="*/ 57 h 668"/>
                  <a:gd name="T64" fmla="*/ 649 w 2010"/>
                  <a:gd name="T65" fmla="*/ 21 h 668"/>
                  <a:gd name="T66" fmla="*/ 882 w 2010"/>
                  <a:gd name="T67" fmla="*/ 3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10" h="668">
                    <a:moveTo>
                      <a:pt x="1004" y="0"/>
                    </a:moveTo>
                    <a:lnTo>
                      <a:pt x="1107" y="1"/>
                    </a:lnTo>
                    <a:lnTo>
                      <a:pt x="1206" y="7"/>
                    </a:lnTo>
                    <a:lnTo>
                      <a:pt x="1303" y="15"/>
                    </a:lnTo>
                    <a:lnTo>
                      <a:pt x="1395" y="27"/>
                    </a:lnTo>
                    <a:lnTo>
                      <a:pt x="1484" y="40"/>
                    </a:lnTo>
                    <a:lnTo>
                      <a:pt x="1566" y="57"/>
                    </a:lnTo>
                    <a:lnTo>
                      <a:pt x="1644" y="77"/>
                    </a:lnTo>
                    <a:lnTo>
                      <a:pt x="1715" y="98"/>
                    </a:lnTo>
                    <a:lnTo>
                      <a:pt x="1780" y="122"/>
                    </a:lnTo>
                    <a:lnTo>
                      <a:pt x="1838" y="147"/>
                    </a:lnTo>
                    <a:lnTo>
                      <a:pt x="1887" y="174"/>
                    </a:lnTo>
                    <a:lnTo>
                      <a:pt x="1931" y="205"/>
                    </a:lnTo>
                    <a:lnTo>
                      <a:pt x="1964" y="235"/>
                    </a:lnTo>
                    <a:lnTo>
                      <a:pt x="1989" y="266"/>
                    </a:lnTo>
                    <a:lnTo>
                      <a:pt x="2004" y="299"/>
                    </a:lnTo>
                    <a:lnTo>
                      <a:pt x="2010" y="334"/>
                    </a:lnTo>
                    <a:lnTo>
                      <a:pt x="2005" y="364"/>
                    </a:lnTo>
                    <a:lnTo>
                      <a:pt x="1993" y="393"/>
                    </a:lnTo>
                    <a:lnTo>
                      <a:pt x="1975" y="421"/>
                    </a:lnTo>
                    <a:lnTo>
                      <a:pt x="1943" y="450"/>
                    </a:lnTo>
                    <a:lnTo>
                      <a:pt x="1903" y="477"/>
                    </a:lnTo>
                    <a:lnTo>
                      <a:pt x="1854" y="501"/>
                    </a:lnTo>
                    <a:lnTo>
                      <a:pt x="1798" y="522"/>
                    </a:lnTo>
                    <a:lnTo>
                      <a:pt x="1735" y="540"/>
                    </a:lnTo>
                    <a:lnTo>
                      <a:pt x="1665" y="557"/>
                    </a:lnTo>
                    <a:lnTo>
                      <a:pt x="1588" y="571"/>
                    </a:lnTo>
                    <a:lnTo>
                      <a:pt x="1507" y="580"/>
                    </a:lnTo>
                    <a:lnTo>
                      <a:pt x="1419" y="587"/>
                    </a:lnTo>
                    <a:lnTo>
                      <a:pt x="1498" y="625"/>
                    </a:lnTo>
                    <a:lnTo>
                      <a:pt x="1409" y="640"/>
                    </a:lnTo>
                    <a:lnTo>
                      <a:pt x="1314" y="652"/>
                    </a:lnTo>
                    <a:lnTo>
                      <a:pt x="1214" y="661"/>
                    </a:lnTo>
                    <a:lnTo>
                      <a:pt x="1111" y="667"/>
                    </a:lnTo>
                    <a:lnTo>
                      <a:pt x="1004" y="668"/>
                    </a:lnTo>
                    <a:lnTo>
                      <a:pt x="901" y="667"/>
                    </a:lnTo>
                    <a:lnTo>
                      <a:pt x="802" y="661"/>
                    </a:lnTo>
                    <a:lnTo>
                      <a:pt x="705" y="653"/>
                    </a:lnTo>
                    <a:lnTo>
                      <a:pt x="613" y="641"/>
                    </a:lnTo>
                    <a:lnTo>
                      <a:pt x="525" y="628"/>
                    </a:lnTo>
                    <a:lnTo>
                      <a:pt x="442" y="611"/>
                    </a:lnTo>
                    <a:lnTo>
                      <a:pt x="365" y="592"/>
                    </a:lnTo>
                    <a:lnTo>
                      <a:pt x="294" y="571"/>
                    </a:lnTo>
                    <a:lnTo>
                      <a:pt x="229" y="546"/>
                    </a:lnTo>
                    <a:lnTo>
                      <a:pt x="170" y="521"/>
                    </a:lnTo>
                    <a:lnTo>
                      <a:pt x="120" y="494"/>
                    </a:lnTo>
                    <a:lnTo>
                      <a:pt x="78" y="464"/>
                    </a:lnTo>
                    <a:lnTo>
                      <a:pt x="45" y="434"/>
                    </a:lnTo>
                    <a:lnTo>
                      <a:pt x="19" y="402"/>
                    </a:lnTo>
                    <a:lnTo>
                      <a:pt x="4" y="369"/>
                    </a:lnTo>
                    <a:lnTo>
                      <a:pt x="0" y="334"/>
                    </a:lnTo>
                    <a:lnTo>
                      <a:pt x="3" y="304"/>
                    </a:lnTo>
                    <a:lnTo>
                      <a:pt x="15" y="275"/>
                    </a:lnTo>
                    <a:lnTo>
                      <a:pt x="33" y="248"/>
                    </a:lnTo>
                    <a:lnTo>
                      <a:pt x="58" y="221"/>
                    </a:lnTo>
                    <a:lnTo>
                      <a:pt x="93" y="196"/>
                    </a:lnTo>
                    <a:lnTo>
                      <a:pt x="136" y="173"/>
                    </a:lnTo>
                    <a:lnTo>
                      <a:pt x="185" y="152"/>
                    </a:lnTo>
                    <a:lnTo>
                      <a:pt x="240" y="134"/>
                    </a:lnTo>
                    <a:lnTo>
                      <a:pt x="302" y="117"/>
                    </a:lnTo>
                    <a:lnTo>
                      <a:pt x="368" y="104"/>
                    </a:lnTo>
                    <a:lnTo>
                      <a:pt x="439" y="93"/>
                    </a:lnTo>
                    <a:lnTo>
                      <a:pt x="516" y="84"/>
                    </a:lnTo>
                    <a:lnTo>
                      <a:pt x="441" y="57"/>
                    </a:lnTo>
                    <a:lnTo>
                      <a:pt x="542" y="37"/>
                    </a:lnTo>
                    <a:lnTo>
                      <a:pt x="649" y="21"/>
                    </a:lnTo>
                    <a:lnTo>
                      <a:pt x="762" y="10"/>
                    </a:lnTo>
                    <a:lnTo>
                      <a:pt x="882" y="3"/>
                    </a:lnTo>
                    <a:lnTo>
                      <a:pt x="100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8">
                <a:extLst>
                  <a:ext uri="{FF2B5EF4-FFF2-40B4-BE49-F238E27FC236}">
                    <a16:creationId xmlns="" xmlns:a16="http://schemas.microsoft.com/office/drawing/2014/main" id="{40709C1A-D6A4-4EC0-B6BA-FA4E7B5F665A}"/>
                  </a:ext>
                </a:extLst>
              </p:cNvPr>
              <p:cNvSpPr>
                <a:spLocks/>
              </p:cNvSpPr>
              <p:nvPr userDrawn="1"/>
            </p:nvSpPr>
            <p:spPr bwMode="auto">
              <a:xfrm>
                <a:off x="7127875" y="2951163"/>
                <a:ext cx="312738" cy="222250"/>
              </a:xfrm>
              <a:custGeom>
                <a:avLst/>
                <a:gdLst>
                  <a:gd name="T0" fmla="*/ 28 w 197"/>
                  <a:gd name="T1" fmla="*/ 0 h 140"/>
                  <a:gd name="T2" fmla="*/ 197 w 197"/>
                  <a:gd name="T3" fmla="*/ 0 h 140"/>
                  <a:gd name="T4" fmla="*/ 197 w 197"/>
                  <a:gd name="T5" fmla="*/ 45 h 140"/>
                  <a:gd name="T6" fmla="*/ 156 w 197"/>
                  <a:gd name="T7" fmla="*/ 45 h 140"/>
                  <a:gd name="T8" fmla="*/ 156 w 197"/>
                  <a:gd name="T9" fmla="*/ 24 h 140"/>
                  <a:gd name="T10" fmla="*/ 68 w 197"/>
                  <a:gd name="T11" fmla="*/ 24 h 140"/>
                  <a:gd name="T12" fmla="*/ 68 w 197"/>
                  <a:gd name="T13" fmla="*/ 56 h 140"/>
                  <a:gd name="T14" fmla="*/ 159 w 197"/>
                  <a:gd name="T15" fmla="*/ 56 h 140"/>
                  <a:gd name="T16" fmla="*/ 159 w 197"/>
                  <a:gd name="T17" fmla="*/ 80 h 140"/>
                  <a:gd name="T18" fmla="*/ 68 w 197"/>
                  <a:gd name="T19" fmla="*/ 80 h 140"/>
                  <a:gd name="T20" fmla="*/ 68 w 197"/>
                  <a:gd name="T21" fmla="*/ 115 h 140"/>
                  <a:gd name="T22" fmla="*/ 156 w 197"/>
                  <a:gd name="T23" fmla="*/ 115 h 140"/>
                  <a:gd name="T24" fmla="*/ 156 w 197"/>
                  <a:gd name="T25" fmla="*/ 95 h 140"/>
                  <a:gd name="T26" fmla="*/ 197 w 197"/>
                  <a:gd name="T27" fmla="*/ 95 h 140"/>
                  <a:gd name="T28" fmla="*/ 197 w 197"/>
                  <a:gd name="T29" fmla="*/ 140 h 140"/>
                  <a:gd name="T30" fmla="*/ 28 w 197"/>
                  <a:gd name="T31" fmla="*/ 140 h 140"/>
                  <a:gd name="T32" fmla="*/ 28 w 197"/>
                  <a:gd name="T33" fmla="*/ 80 h 140"/>
                  <a:gd name="T34" fmla="*/ 0 w 197"/>
                  <a:gd name="T35" fmla="*/ 80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4"/>
                    </a:lnTo>
                    <a:lnTo>
                      <a:pt x="68" y="24"/>
                    </a:lnTo>
                    <a:lnTo>
                      <a:pt x="68" y="56"/>
                    </a:lnTo>
                    <a:lnTo>
                      <a:pt x="159" y="56"/>
                    </a:lnTo>
                    <a:lnTo>
                      <a:pt x="159" y="80"/>
                    </a:lnTo>
                    <a:lnTo>
                      <a:pt x="68" y="80"/>
                    </a:lnTo>
                    <a:lnTo>
                      <a:pt x="68" y="115"/>
                    </a:lnTo>
                    <a:lnTo>
                      <a:pt x="156" y="115"/>
                    </a:lnTo>
                    <a:lnTo>
                      <a:pt x="156" y="95"/>
                    </a:lnTo>
                    <a:lnTo>
                      <a:pt x="197" y="95"/>
                    </a:lnTo>
                    <a:lnTo>
                      <a:pt x="197" y="140"/>
                    </a:lnTo>
                    <a:lnTo>
                      <a:pt x="28" y="140"/>
                    </a:lnTo>
                    <a:lnTo>
                      <a:pt x="28" y="80"/>
                    </a:lnTo>
                    <a:lnTo>
                      <a:pt x="0" y="80"/>
                    </a:lnTo>
                    <a:lnTo>
                      <a:pt x="0" y="56"/>
                    </a:lnTo>
                    <a:lnTo>
                      <a:pt x="28" y="56"/>
                    </a:lnTo>
                    <a:lnTo>
                      <a:pt x="28"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9">
                <a:extLst>
                  <a:ext uri="{FF2B5EF4-FFF2-40B4-BE49-F238E27FC236}">
                    <a16:creationId xmlns="" xmlns:a16="http://schemas.microsoft.com/office/drawing/2014/main" id="{A4693739-2505-4E46-8A83-06986F3AB3D1}"/>
                  </a:ext>
                </a:extLst>
              </p:cNvPr>
              <p:cNvSpPr>
                <a:spLocks/>
              </p:cNvSpPr>
              <p:nvPr userDrawn="1"/>
            </p:nvSpPr>
            <p:spPr bwMode="auto">
              <a:xfrm>
                <a:off x="7564438" y="2946400"/>
                <a:ext cx="293688" cy="231775"/>
              </a:xfrm>
              <a:custGeom>
                <a:avLst/>
                <a:gdLst>
                  <a:gd name="T0" fmla="*/ 0 w 185"/>
                  <a:gd name="T1" fmla="*/ 0 h 146"/>
                  <a:gd name="T2" fmla="*/ 144 w 185"/>
                  <a:gd name="T3" fmla="*/ 89 h 146"/>
                  <a:gd name="T4" fmla="*/ 144 w 185"/>
                  <a:gd name="T5" fmla="*/ 3 h 146"/>
                  <a:gd name="T6" fmla="*/ 185 w 185"/>
                  <a:gd name="T7" fmla="*/ 3 h 146"/>
                  <a:gd name="T8" fmla="*/ 185 w 185"/>
                  <a:gd name="T9" fmla="*/ 146 h 146"/>
                  <a:gd name="T10" fmla="*/ 41 w 185"/>
                  <a:gd name="T11" fmla="*/ 58 h 146"/>
                  <a:gd name="T12" fmla="*/ 41 w 185"/>
                  <a:gd name="T13" fmla="*/ 143 h 146"/>
                  <a:gd name="T14" fmla="*/ 0 w 185"/>
                  <a:gd name="T15" fmla="*/ 143 h 146"/>
                  <a:gd name="T16" fmla="*/ 0 w 185"/>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146">
                    <a:moveTo>
                      <a:pt x="0" y="0"/>
                    </a:moveTo>
                    <a:lnTo>
                      <a:pt x="144" y="89"/>
                    </a:lnTo>
                    <a:lnTo>
                      <a:pt x="144" y="3"/>
                    </a:lnTo>
                    <a:lnTo>
                      <a:pt x="185" y="3"/>
                    </a:lnTo>
                    <a:lnTo>
                      <a:pt x="185" y="146"/>
                    </a:lnTo>
                    <a:lnTo>
                      <a:pt x="41" y="58"/>
                    </a:lnTo>
                    <a:lnTo>
                      <a:pt x="41" y="143"/>
                    </a:lnTo>
                    <a:lnTo>
                      <a:pt x="0" y="14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10">
                <a:extLst>
                  <a:ext uri="{FF2B5EF4-FFF2-40B4-BE49-F238E27FC236}">
                    <a16:creationId xmlns="" xmlns:a16="http://schemas.microsoft.com/office/drawing/2014/main" id="{8B1653D8-8349-49FA-BB19-C0893F250FB3}"/>
                  </a:ext>
                </a:extLst>
              </p:cNvPr>
              <p:cNvSpPr>
                <a:spLocks/>
              </p:cNvSpPr>
              <p:nvPr userDrawn="1"/>
            </p:nvSpPr>
            <p:spPr bwMode="auto">
              <a:xfrm>
                <a:off x="7959725" y="2951163"/>
                <a:ext cx="312738" cy="222250"/>
              </a:xfrm>
              <a:custGeom>
                <a:avLst/>
                <a:gdLst>
                  <a:gd name="T0" fmla="*/ 26 w 197"/>
                  <a:gd name="T1" fmla="*/ 0 h 140"/>
                  <a:gd name="T2" fmla="*/ 197 w 197"/>
                  <a:gd name="T3" fmla="*/ 0 h 140"/>
                  <a:gd name="T4" fmla="*/ 197 w 197"/>
                  <a:gd name="T5" fmla="*/ 45 h 140"/>
                  <a:gd name="T6" fmla="*/ 155 w 197"/>
                  <a:gd name="T7" fmla="*/ 45 h 140"/>
                  <a:gd name="T8" fmla="*/ 155 w 197"/>
                  <a:gd name="T9" fmla="*/ 24 h 140"/>
                  <a:gd name="T10" fmla="*/ 68 w 197"/>
                  <a:gd name="T11" fmla="*/ 24 h 140"/>
                  <a:gd name="T12" fmla="*/ 68 w 197"/>
                  <a:gd name="T13" fmla="*/ 56 h 140"/>
                  <a:gd name="T14" fmla="*/ 158 w 197"/>
                  <a:gd name="T15" fmla="*/ 56 h 140"/>
                  <a:gd name="T16" fmla="*/ 158 w 197"/>
                  <a:gd name="T17" fmla="*/ 80 h 140"/>
                  <a:gd name="T18" fmla="*/ 68 w 197"/>
                  <a:gd name="T19" fmla="*/ 80 h 140"/>
                  <a:gd name="T20" fmla="*/ 68 w 197"/>
                  <a:gd name="T21" fmla="*/ 115 h 140"/>
                  <a:gd name="T22" fmla="*/ 155 w 197"/>
                  <a:gd name="T23" fmla="*/ 115 h 140"/>
                  <a:gd name="T24" fmla="*/ 155 w 197"/>
                  <a:gd name="T25" fmla="*/ 95 h 140"/>
                  <a:gd name="T26" fmla="*/ 197 w 197"/>
                  <a:gd name="T27" fmla="*/ 95 h 140"/>
                  <a:gd name="T28" fmla="*/ 197 w 197"/>
                  <a:gd name="T29" fmla="*/ 140 h 140"/>
                  <a:gd name="T30" fmla="*/ 26 w 197"/>
                  <a:gd name="T31" fmla="*/ 140 h 140"/>
                  <a:gd name="T32" fmla="*/ 26 w 197"/>
                  <a:gd name="T33" fmla="*/ 80 h 140"/>
                  <a:gd name="T34" fmla="*/ 0 w 197"/>
                  <a:gd name="T35" fmla="*/ 80 h 140"/>
                  <a:gd name="T36" fmla="*/ 0 w 197"/>
                  <a:gd name="T37" fmla="*/ 56 h 140"/>
                  <a:gd name="T38" fmla="*/ 26 w 197"/>
                  <a:gd name="T39" fmla="*/ 56 h 140"/>
                  <a:gd name="T40" fmla="*/ 26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6" y="0"/>
                    </a:moveTo>
                    <a:lnTo>
                      <a:pt x="197" y="0"/>
                    </a:lnTo>
                    <a:lnTo>
                      <a:pt x="197" y="45"/>
                    </a:lnTo>
                    <a:lnTo>
                      <a:pt x="155" y="45"/>
                    </a:lnTo>
                    <a:lnTo>
                      <a:pt x="155" y="24"/>
                    </a:lnTo>
                    <a:lnTo>
                      <a:pt x="68" y="24"/>
                    </a:lnTo>
                    <a:lnTo>
                      <a:pt x="68" y="56"/>
                    </a:lnTo>
                    <a:lnTo>
                      <a:pt x="158" y="56"/>
                    </a:lnTo>
                    <a:lnTo>
                      <a:pt x="158" y="80"/>
                    </a:lnTo>
                    <a:lnTo>
                      <a:pt x="68" y="80"/>
                    </a:lnTo>
                    <a:lnTo>
                      <a:pt x="68" y="115"/>
                    </a:lnTo>
                    <a:lnTo>
                      <a:pt x="155" y="115"/>
                    </a:lnTo>
                    <a:lnTo>
                      <a:pt x="155" y="95"/>
                    </a:lnTo>
                    <a:lnTo>
                      <a:pt x="197" y="95"/>
                    </a:lnTo>
                    <a:lnTo>
                      <a:pt x="197" y="140"/>
                    </a:lnTo>
                    <a:lnTo>
                      <a:pt x="26" y="140"/>
                    </a:lnTo>
                    <a:lnTo>
                      <a:pt x="26" y="80"/>
                    </a:lnTo>
                    <a:lnTo>
                      <a:pt x="0" y="80"/>
                    </a:lnTo>
                    <a:lnTo>
                      <a:pt x="0" y="56"/>
                    </a:lnTo>
                    <a:lnTo>
                      <a:pt x="26" y="56"/>
                    </a:lnTo>
                    <a:lnTo>
                      <a:pt x="26"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11">
                <a:extLst>
                  <a:ext uri="{FF2B5EF4-FFF2-40B4-BE49-F238E27FC236}">
                    <a16:creationId xmlns="" xmlns:a16="http://schemas.microsoft.com/office/drawing/2014/main" id="{CD22640B-FADE-425B-8043-2FC9115EE039}"/>
                  </a:ext>
                </a:extLst>
              </p:cNvPr>
              <p:cNvSpPr>
                <a:spLocks noEditPoints="1"/>
              </p:cNvSpPr>
              <p:nvPr userDrawn="1"/>
            </p:nvSpPr>
            <p:spPr bwMode="auto">
              <a:xfrm>
                <a:off x="8362950" y="2951163"/>
                <a:ext cx="338138" cy="222250"/>
              </a:xfrm>
              <a:custGeom>
                <a:avLst/>
                <a:gdLst>
                  <a:gd name="T0" fmla="*/ 68 w 213"/>
                  <a:gd name="T1" fmla="*/ 24 h 140"/>
                  <a:gd name="T2" fmla="*/ 68 w 213"/>
                  <a:gd name="T3" fmla="*/ 56 h 140"/>
                  <a:gd name="T4" fmla="*/ 141 w 213"/>
                  <a:gd name="T5" fmla="*/ 56 h 140"/>
                  <a:gd name="T6" fmla="*/ 154 w 213"/>
                  <a:gd name="T7" fmla="*/ 55 h 140"/>
                  <a:gd name="T8" fmla="*/ 163 w 213"/>
                  <a:gd name="T9" fmla="*/ 51 h 140"/>
                  <a:gd name="T10" fmla="*/ 168 w 213"/>
                  <a:gd name="T11" fmla="*/ 45 h 140"/>
                  <a:gd name="T12" fmla="*/ 169 w 213"/>
                  <a:gd name="T13" fmla="*/ 41 h 140"/>
                  <a:gd name="T14" fmla="*/ 168 w 213"/>
                  <a:gd name="T15" fmla="*/ 35 h 140"/>
                  <a:gd name="T16" fmla="*/ 163 w 213"/>
                  <a:gd name="T17" fmla="*/ 30 h 140"/>
                  <a:gd name="T18" fmla="*/ 154 w 213"/>
                  <a:gd name="T19" fmla="*/ 26 h 140"/>
                  <a:gd name="T20" fmla="*/ 141 w 213"/>
                  <a:gd name="T21" fmla="*/ 24 h 140"/>
                  <a:gd name="T22" fmla="*/ 68 w 213"/>
                  <a:gd name="T23" fmla="*/ 24 h 140"/>
                  <a:gd name="T24" fmla="*/ 27 w 213"/>
                  <a:gd name="T25" fmla="*/ 0 h 140"/>
                  <a:gd name="T26" fmla="*/ 138 w 213"/>
                  <a:gd name="T27" fmla="*/ 0 h 140"/>
                  <a:gd name="T28" fmla="*/ 163 w 213"/>
                  <a:gd name="T29" fmla="*/ 2 h 140"/>
                  <a:gd name="T30" fmla="*/ 184 w 213"/>
                  <a:gd name="T31" fmla="*/ 8 h 140"/>
                  <a:gd name="T32" fmla="*/ 198 w 213"/>
                  <a:gd name="T33" fmla="*/ 15 h 140"/>
                  <a:gd name="T34" fmla="*/ 207 w 213"/>
                  <a:gd name="T35" fmla="*/ 27 h 140"/>
                  <a:gd name="T36" fmla="*/ 210 w 213"/>
                  <a:gd name="T37" fmla="*/ 41 h 140"/>
                  <a:gd name="T38" fmla="*/ 209 w 213"/>
                  <a:gd name="T39" fmla="*/ 51 h 140"/>
                  <a:gd name="T40" fmla="*/ 203 w 213"/>
                  <a:gd name="T41" fmla="*/ 62 h 140"/>
                  <a:gd name="T42" fmla="*/ 192 w 213"/>
                  <a:gd name="T43" fmla="*/ 70 h 140"/>
                  <a:gd name="T44" fmla="*/ 175 w 213"/>
                  <a:gd name="T45" fmla="*/ 76 h 140"/>
                  <a:gd name="T46" fmla="*/ 154 w 213"/>
                  <a:gd name="T47" fmla="*/ 80 h 140"/>
                  <a:gd name="T48" fmla="*/ 213 w 213"/>
                  <a:gd name="T49" fmla="*/ 140 h 140"/>
                  <a:gd name="T50" fmla="*/ 165 w 213"/>
                  <a:gd name="T51" fmla="*/ 140 h 140"/>
                  <a:gd name="T52" fmla="*/ 109 w 213"/>
                  <a:gd name="T53" fmla="*/ 80 h 140"/>
                  <a:gd name="T54" fmla="*/ 68 w 213"/>
                  <a:gd name="T55" fmla="*/ 80 h 140"/>
                  <a:gd name="T56" fmla="*/ 68 w 213"/>
                  <a:gd name="T57" fmla="*/ 140 h 140"/>
                  <a:gd name="T58" fmla="*/ 27 w 213"/>
                  <a:gd name="T59" fmla="*/ 140 h 140"/>
                  <a:gd name="T60" fmla="*/ 27 w 213"/>
                  <a:gd name="T61" fmla="*/ 80 h 140"/>
                  <a:gd name="T62" fmla="*/ 0 w 213"/>
                  <a:gd name="T63" fmla="*/ 80 h 140"/>
                  <a:gd name="T64" fmla="*/ 0 w 213"/>
                  <a:gd name="T65" fmla="*/ 56 h 140"/>
                  <a:gd name="T66" fmla="*/ 27 w 213"/>
                  <a:gd name="T67" fmla="*/ 56 h 140"/>
                  <a:gd name="T68" fmla="*/ 27 w 213"/>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40">
                    <a:moveTo>
                      <a:pt x="68" y="24"/>
                    </a:moveTo>
                    <a:lnTo>
                      <a:pt x="68" y="56"/>
                    </a:lnTo>
                    <a:lnTo>
                      <a:pt x="141" y="56"/>
                    </a:lnTo>
                    <a:lnTo>
                      <a:pt x="154" y="55"/>
                    </a:lnTo>
                    <a:lnTo>
                      <a:pt x="163" y="51"/>
                    </a:lnTo>
                    <a:lnTo>
                      <a:pt x="168" y="45"/>
                    </a:lnTo>
                    <a:lnTo>
                      <a:pt x="169" y="41"/>
                    </a:lnTo>
                    <a:lnTo>
                      <a:pt x="168" y="35"/>
                    </a:lnTo>
                    <a:lnTo>
                      <a:pt x="163" y="30"/>
                    </a:lnTo>
                    <a:lnTo>
                      <a:pt x="154" y="26"/>
                    </a:lnTo>
                    <a:lnTo>
                      <a:pt x="141" y="24"/>
                    </a:lnTo>
                    <a:lnTo>
                      <a:pt x="68" y="24"/>
                    </a:lnTo>
                    <a:close/>
                    <a:moveTo>
                      <a:pt x="27" y="0"/>
                    </a:moveTo>
                    <a:lnTo>
                      <a:pt x="138" y="0"/>
                    </a:lnTo>
                    <a:lnTo>
                      <a:pt x="163" y="2"/>
                    </a:lnTo>
                    <a:lnTo>
                      <a:pt x="184" y="8"/>
                    </a:lnTo>
                    <a:lnTo>
                      <a:pt x="198" y="15"/>
                    </a:lnTo>
                    <a:lnTo>
                      <a:pt x="207" y="27"/>
                    </a:lnTo>
                    <a:lnTo>
                      <a:pt x="210" y="41"/>
                    </a:lnTo>
                    <a:lnTo>
                      <a:pt x="209" y="51"/>
                    </a:lnTo>
                    <a:lnTo>
                      <a:pt x="203" y="62"/>
                    </a:lnTo>
                    <a:lnTo>
                      <a:pt x="192" y="70"/>
                    </a:lnTo>
                    <a:lnTo>
                      <a:pt x="175" y="76"/>
                    </a:lnTo>
                    <a:lnTo>
                      <a:pt x="154" y="80"/>
                    </a:lnTo>
                    <a:lnTo>
                      <a:pt x="213" y="140"/>
                    </a:lnTo>
                    <a:lnTo>
                      <a:pt x="165" y="140"/>
                    </a:lnTo>
                    <a:lnTo>
                      <a:pt x="109" y="80"/>
                    </a:lnTo>
                    <a:lnTo>
                      <a:pt x="68" y="80"/>
                    </a:lnTo>
                    <a:lnTo>
                      <a:pt x="68" y="140"/>
                    </a:lnTo>
                    <a:lnTo>
                      <a:pt x="27" y="140"/>
                    </a:lnTo>
                    <a:lnTo>
                      <a:pt x="27" y="80"/>
                    </a:lnTo>
                    <a:lnTo>
                      <a:pt x="0" y="80"/>
                    </a:lnTo>
                    <a:lnTo>
                      <a:pt x="0" y="56"/>
                    </a:lnTo>
                    <a:lnTo>
                      <a:pt x="27" y="56"/>
                    </a:lnTo>
                    <a:lnTo>
                      <a:pt x="2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12">
                <a:extLst>
                  <a:ext uri="{FF2B5EF4-FFF2-40B4-BE49-F238E27FC236}">
                    <a16:creationId xmlns="" xmlns:a16="http://schemas.microsoft.com/office/drawing/2014/main" id="{F639817C-A61A-4159-AE98-CB7AE13056AD}"/>
                  </a:ext>
                </a:extLst>
              </p:cNvPr>
              <p:cNvSpPr>
                <a:spLocks/>
              </p:cNvSpPr>
              <p:nvPr userDrawn="1"/>
            </p:nvSpPr>
            <p:spPr bwMode="auto">
              <a:xfrm>
                <a:off x="8766175" y="2946400"/>
                <a:ext cx="379413" cy="231775"/>
              </a:xfrm>
              <a:custGeom>
                <a:avLst/>
                <a:gdLst>
                  <a:gd name="T0" fmla="*/ 119 w 239"/>
                  <a:gd name="T1" fmla="*/ 0 h 146"/>
                  <a:gd name="T2" fmla="*/ 146 w 239"/>
                  <a:gd name="T3" fmla="*/ 2 h 146"/>
                  <a:gd name="T4" fmla="*/ 171 w 239"/>
                  <a:gd name="T5" fmla="*/ 8 h 146"/>
                  <a:gd name="T6" fmla="*/ 195 w 239"/>
                  <a:gd name="T7" fmla="*/ 17 h 146"/>
                  <a:gd name="T8" fmla="*/ 214 w 239"/>
                  <a:gd name="T9" fmla="*/ 29 h 146"/>
                  <a:gd name="T10" fmla="*/ 181 w 239"/>
                  <a:gd name="T11" fmla="*/ 45 h 146"/>
                  <a:gd name="T12" fmla="*/ 165 w 239"/>
                  <a:gd name="T13" fmla="*/ 33 h 146"/>
                  <a:gd name="T14" fmla="*/ 143 w 239"/>
                  <a:gd name="T15" fmla="*/ 27 h 146"/>
                  <a:gd name="T16" fmla="*/ 119 w 239"/>
                  <a:gd name="T17" fmla="*/ 24 h 146"/>
                  <a:gd name="T18" fmla="*/ 97 w 239"/>
                  <a:gd name="T19" fmla="*/ 27 h 146"/>
                  <a:gd name="T20" fmla="*/ 75 w 239"/>
                  <a:gd name="T21" fmla="*/ 33 h 146"/>
                  <a:gd name="T22" fmla="*/ 59 w 239"/>
                  <a:gd name="T23" fmla="*/ 44 h 146"/>
                  <a:gd name="T24" fmla="*/ 47 w 239"/>
                  <a:gd name="T25" fmla="*/ 58 h 146"/>
                  <a:gd name="T26" fmla="*/ 44 w 239"/>
                  <a:gd name="T27" fmla="*/ 73 h 146"/>
                  <a:gd name="T28" fmla="*/ 47 w 239"/>
                  <a:gd name="T29" fmla="*/ 89 h 146"/>
                  <a:gd name="T30" fmla="*/ 59 w 239"/>
                  <a:gd name="T31" fmla="*/ 101 h 146"/>
                  <a:gd name="T32" fmla="*/ 75 w 239"/>
                  <a:gd name="T33" fmla="*/ 112 h 146"/>
                  <a:gd name="T34" fmla="*/ 97 w 239"/>
                  <a:gd name="T35" fmla="*/ 119 h 146"/>
                  <a:gd name="T36" fmla="*/ 119 w 239"/>
                  <a:gd name="T37" fmla="*/ 121 h 146"/>
                  <a:gd name="T38" fmla="*/ 145 w 239"/>
                  <a:gd name="T39" fmla="*/ 119 h 146"/>
                  <a:gd name="T40" fmla="*/ 168 w 239"/>
                  <a:gd name="T41" fmla="*/ 112 h 146"/>
                  <a:gd name="T42" fmla="*/ 184 w 239"/>
                  <a:gd name="T43" fmla="*/ 100 h 146"/>
                  <a:gd name="T44" fmla="*/ 195 w 239"/>
                  <a:gd name="T45" fmla="*/ 83 h 146"/>
                  <a:gd name="T46" fmla="*/ 119 w 239"/>
                  <a:gd name="T47" fmla="*/ 83 h 146"/>
                  <a:gd name="T48" fmla="*/ 119 w 239"/>
                  <a:gd name="T49" fmla="*/ 59 h 146"/>
                  <a:gd name="T50" fmla="*/ 239 w 239"/>
                  <a:gd name="T51" fmla="*/ 59 h 146"/>
                  <a:gd name="T52" fmla="*/ 239 w 239"/>
                  <a:gd name="T53" fmla="*/ 77 h 146"/>
                  <a:gd name="T54" fmla="*/ 237 w 239"/>
                  <a:gd name="T55" fmla="*/ 88 h 146"/>
                  <a:gd name="T56" fmla="*/ 233 w 239"/>
                  <a:gd name="T57" fmla="*/ 98 h 146"/>
                  <a:gd name="T58" fmla="*/ 223 w 239"/>
                  <a:gd name="T59" fmla="*/ 109 h 146"/>
                  <a:gd name="T60" fmla="*/ 211 w 239"/>
                  <a:gd name="T61" fmla="*/ 121 h 146"/>
                  <a:gd name="T62" fmla="*/ 195 w 239"/>
                  <a:gd name="T63" fmla="*/ 130 h 146"/>
                  <a:gd name="T64" fmla="*/ 175 w 239"/>
                  <a:gd name="T65" fmla="*/ 139 h 146"/>
                  <a:gd name="T66" fmla="*/ 149 w 239"/>
                  <a:gd name="T67" fmla="*/ 143 h 146"/>
                  <a:gd name="T68" fmla="*/ 119 w 239"/>
                  <a:gd name="T69" fmla="*/ 146 h 146"/>
                  <a:gd name="T70" fmla="*/ 88 w 239"/>
                  <a:gd name="T71" fmla="*/ 143 h 146"/>
                  <a:gd name="T72" fmla="*/ 59 w 239"/>
                  <a:gd name="T73" fmla="*/ 136 h 146"/>
                  <a:gd name="T74" fmla="*/ 35 w 239"/>
                  <a:gd name="T75" fmla="*/ 125 h 146"/>
                  <a:gd name="T76" fmla="*/ 17 w 239"/>
                  <a:gd name="T77" fmla="*/ 110 h 146"/>
                  <a:gd name="T78" fmla="*/ 4 w 239"/>
                  <a:gd name="T79" fmla="*/ 92 h 146"/>
                  <a:gd name="T80" fmla="*/ 0 w 239"/>
                  <a:gd name="T81" fmla="*/ 73 h 146"/>
                  <a:gd name="T82" fmla="*/ 4 w 239"/>
                  <a:gd name="T83" fmla="*/ 53 h 146"/>
                  <a:gd name="T84" fmla="*/ 17 w 239"/>
                  <a:gd name="T85" fmla="*/ 36 h 146"/>
                  <a:gd name="T86" fmla="*/ 35 w 239"/>
                  <a:gd name="T87" fmla="*/ 21 h 146"/>
                  <a:gd name="T88" fmla="*/ 59 w 239"/>
                  <a:gd name="T89" fmla="*/ 11 h 146"/>
                  <a:gd name="T90" fmla="*/ 88 w 239"/>
                  <a:gd name="T91" fmla="*/ 3 h 146"/>
                  <a:gd name="T92" fmla="*/ 119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19" y="0"/>
                    </a:moveTo>
                    <a:lnTo>
                      <a:pt x="146" y="2"/>
                    </a:lnTo>
                    <a:lnTo>
                      <a:pt x="171" y="8"/>
                    </a:lnTo>
                    <a:lnTo>
                      <a:pt x="195" y="17"/>
                    </a:lnTo>
                    <a:lnTo>
                      <a:pt x="214" y="29"/>
                    </a:lnTo>
                    <a:lnTo>
                      <a:pt x="181" y="45"/>
                    </a:lnTo>
                    <a:lnTo>
                      <a:pt x="165" y="33"/>
                    </a:lnTo>
                    <a:lnTo>
                      <a:pt x="143" y="27"/>
                    </a:lnTo>
                    <a:lnTo>
                      <a:pt x="119" y="24"/>
                    </a:lnTo>
                    <a:lnTo>
                      <a:pt x="97" y="27"/>
                    </a:lnTo>
                    <a:lnTo>
                      <a:pt x="75" y="33"/>
                    </a:lnTo>
                    <a:lnTo>
                      <a:pt x="59" y="44"/>
                    </a:lnTo>
                    <a:lnTo>
                      <a:pt x="47" y="58"/>
                    </a:lnTo>
                    <a:lnTo>
                      <a:pt x="44" y="73"/>
                    </a:lnTo>
                    <a:lnTo>
                      <a:pt x="47" y="89"/>
                    </a:lnTo>
                    <a:lnTo>
                      <a:pt x="59" y="101"/>
                    </a:lnTo>
                    <a:lnTo>
                      <a:pt x="75" y="112"/>
                    </a:lnTo>
                    <a:lnTo>
                      <a:pt x="97" y="119"/>
                    </a:lnTo>
                    <a:lnTo>
                      <a:pt x="119" y="121"/>
                    </a:lnTo>
                    <a:lnTo>
                      <a:pt x="145" y="119"/>
                    </a:lnTo>
                    <a:lnTo>
                      <a:pt x="168" y="112"/>
                    </a:lnTo>
                    <a:lnTo>
                      <a:pt x="184" y="100"/>
                    </a:lnTo>
                    <a:lnTo>
                      <a:pt x="195" y="83"/>
                    </a:lnTo>
                    <a:lnTo>
                      <a:pt x="119" y="83"/>
                    </a:lnTo>
                    <a:lnTo>
                      <a:pt x="119" y="59"/>
                    </a:lnTo>
                    <a:lnTo>
                      <a:pt x="239" y="59"/>
                    </a:lnTo>
                    <a:lnTo>
                      <a:pt x="239" y="77"/>
                    </a:lnTo>
                    <a:lnTo>
                      <a:pt x="237" y="88"/>
                    </a:lnTo>
                    <a:lnTo>
                      <a:pt x="233" y="98"/>
                    </a:lnTo>
                    <a:lnTo>
                      <a:pt x="223" y="109"/>
                    </a:lnTo>
                    <a:lnTo>
                      <a:pt x="211" y="121"/>
                    </a:lnTo>
                    <a:lnTo>
                      <a:pt x="195" y="130"/>
                    </a:lnTo>
                    <a:lnTo>
                      <a:pt x="175" y="139"/>
                    </a:lnTo>
                    <a:lnTo>
                      <a:pt x="149" y="143"/>
                    </a:lnTo>
                    <a:lnTo>
                      <a:pt x="119" y="146"/>
                    </a:lnTo>
                    <a:lnTo>
                      <a:pt x="88" y="143"/>
                    </a:lnTo>
                    <a:lnTo>
                      <a:pt x="59" y="136"/>
                    </a:lnTo>
                    <a:lnTo>
                      <a:pt x="35" y="125"/>
                    </a:lnTo>
                    <a:lnTo>
                      <a:pt x="17" y="110"/>
                    </a:lnTo>
                    <a:lnTo>
                      <a:pt x="4" y="92"/>
                    </a:lnTo>
                    <a:lnTo>
                      <a:pt x="0" y="73"/>
                    </a:lnTo>
                    <a:lnTo>
                      <a:pt x="4" y="53"/>
                    </a:lnTo>
                    <a:lnTo>
                      <a:pt x="17" y="36"/>
                    </a:lnTo>
                    <a:lnTo>
                      <a:pt x="35" y="21"/>
                    </a:lnTo>
                    <a:lnTo>
                      <a:pt x="59" y="11"/>
                    </a:lnTo>
                    <a:lnTo>
                      <a:pt x="88" y="3"/>
                    </a:lnTo>
                    <a:lnTo>
                      <a:pt x="119"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13">
                <a:extLst>
                  <a:ext uri="{FF2B5EF4-FFF2-40B4-BE49-F238E27FC236}">
                    <a16:creationId xmlns="" xmlns:a16="http://schemas.microsoft.com/office/drawing/2014/main" id="{764E5B46-AC92-48B0-8234-B035924B18DD}"/>
                  </a:ext>
                </a:extLst>
              </p:cNvPr>
              <p:cNvSpPr>
                <a:spLocks/>
              </p:cNvSpPr>
              <p:nvPr userDrawn="1"/>
            </p:nvSpPr>
            <p:spPr bwMode="auto">
              <a:xfrm>
                <a:off x="9174163" y="2951163"/>
                <a:ext cx="319088" cy="222250"/>
              </a:xfrm>
              <a:custGeom>
                <a:avLst/>
                <a:gdLst>
                  <a:gd name="T0" fmla="*/ 0 w 201"/>
                  <a:gd name="T1" fmla="*/ 0 h 140"/>
                  <a:gd name="T2" fmla="*/ 47 w 201"/>
                  <a:gd name="T3" fmla="*/ 0 h 140"/>
                  <a:gd name="T4" fmla="*/ 99 w 201"/>
                  <a:gd name="T5" fmla="*/ 55 h 140"/>
                  <a:gd name="T6" fmla="*/ 152 w 201"/>
                  <a:gd name="T7" fmla="*/ 0 h 140"/>
                  <a:gd name="T8" fmla="*/ 201 w 201"/>
                  <a:gd name="T9" fmla="*/ 0 h 140"/>
                  <a:gd name="T10" fmla="*/ 121 w 201"/>
                  <a:gd name="T11" fmla="*/ 79 h 140"/>
                  <a:gd name="T12" fmla="*/ 121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7" y="0"/>
                    </a:lnTo>
                    <a:lnTo>
                      <a:pt x="99" y="55"/>
                    </a:lnTo>
                    <a:lnTo>
                      <a:pt x="152" y="0"/>
                    </a:lnTo>
                    <a:lnTo>
                      <a:pt x="201" y="0"/>
                    </a:lnTo>
                    <a:lnTo>
                      <a:pt x="121" y="79"/>
                    </a:lnTo>
                    <a:lnTo>
                      <a:pt x="121" y="140"/>
                    </a:lnTo>
                    <a:lnTo>
                      <a:pt x="80" y="140"/>
                    </a:lnTo>
                    <a:lnTo>
                      <a:pt x="80" y="79"/>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14">
                <a:extLst>
                  <a:ext uri="{FF2B5EF4-FFF2-40B4-BE49-F238E27FC236}">
                    <a16:creationId xmlns="" xmlns:a16="http://schemas.microsoft.com/office/drawing/2014/main" id="{973A5ED9-3570-4939-9480-138C766A791C}"/>
                  </a:ext>
                </a:extLst>
              </p:cNvPr>
              <p:cNvSpPr>
                <a:spLocks/>
              </p:cNvSpPr>
              <p:nvPr userDrawn="1"/>
            </p:nvSpPr>
            <p:spPr bwMode="auto">
              <a:xfrm>
                <a:off x="7116763" y="2936875"/>
                <a:ext cx="311150" cy="222250"/>
              </a:xfrm>
              <a:custGeom>
                <a:avLst/>
                <a:gdLst>
                  <a:gd name="T0" fmla="*/ 26 w 196"/>
                  <a:gd name="T1" fmla="*/ 0 h 140"/>
                  <a:gd name="T2" fmla="*/ 196 w 196"/>
                  <a:gd name="T3" fmla="*/ 0 h 140"/>
                  <a:gd name="T4" fmla="*/ 196 w 196"/>
                  <a:gd name="T5" fmla="*/ 45 h 140"/>
                  <a:gd name="T6" fmla="*/ 154 w 196"/>
                  <a:gd name="T7" fmla="*/ 45 h 140"/>
                  <a:gd name="T8" fmla="*/ 154 w 196"/>
                  <a:gd name="T9" fmla="*/ 26 h 140"/>
                  <a:gd name="T10" fmla="*/ 66 w 196"/>
                  <a:gd name="T11" fmla="*/ 26 h 140"/>
                  <a:gd name="T12" fmla="*/ 66 w 196"/>
                  <a:gd name="T13" fmla="*/ 56 h 140"/>
                  <a:gd name="T14" fmla="*/ 157 w 196"/>
                  <a:gd name="T15" fmla="*/ 56 h 140"/>
                  <a:gd name="T16" fmla="*/ 157 w 196"/>
                  <a:gd name="T17" fmla="*/ 82 h 140"/>
                  <a:gd name="T18" fmla="*/ 66 w 196"/>
                  <a:gd name="T19" fmla="*/ 82 h 140"/>
                  <a:gd name="T20" fmla="*/ 66 w 196"/>
                  <a:gd name="T21" fmla="*/ 116 h 140"/>
                  <a:gd name="T22" fmla="*/ 154 w 196"/>
                  <a:gd name="T23" fmla="*/ 116 h 140"/>
                  <a:gd name="T24" fmla="*/ 154 w 196"/>
                  <a:gd name="T25" fmla="*/ 95 h 140"/>
                  <a:gd name="T26" fmla="*/ 196 w 196"/>
                  <a:gd name="T27" fmla="*/ 95 h 140"/>
                  <a:gd name="T28" fmla="*/ 196 w 196"/>
                  <a:gd name="T29" fmla="*/ 140 h 140"/>
                  <a:gd name="T30" fmla="*/ 26 w 196"/>
                  <a:gd name="T31" fmla="*/ 140 h 140"/>
                  <a:gd name="T32" fmla="*/ 26 w 196"/>
                  <a:gd name="T33" fmla="*/ 82 h 140"/>
                  <a:gd name="T34" fmla="*/ 0 w 196"/>
                  <a:gd name="T35" fmla="*/ 82 h 140"/>
                  <a:gd name="T36" fmla="*/ 0 w 196"/>
                  <a:gd name="T37" fmla="*/ 56 h 140"/>
                  <a:gd name="T38" fmla="*/ 26 w 196"/>
                  <a:gd name="T39" fmla="*/ 56 h 140"/>
                  <a:gd name="T40" fmla="*/ 26 w 196"/>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140">
                    <a:moveTo>
                      <a:pt x="26" y="0"/>
                    </a:moveTo>
                    <a:lnTo>
                      <a:pt x="196" y="0"/>
                    </a:lnTo>
                    <a:lnTo>
                      <a:pt x="196" y="45"/>
                    </a:lnTo>
                    <a:lnTo>
                      <a:pt x="154" y="45"/>
                    </a:lnTo>
                    <a:lnTo>
                      <a:pt x="154" y="26"/>
                    </a:lnTo>
                    <a:lnTo>
                      <a:pt x="66" y="26"/>
                    </a:lnTo>
                    <a:lnTo>
                      <a:pt x="66" y="56"/>
                    </a:lnTo>
                    <a:lnTo>
                      <a:pt x="157" y="56"/>
                    </a:lnTo>
                    <a:lnTo>
                      <a:pt x="157" y="82"/>
                    </a:lnTo>
                    <a:lnTo>
                      <a:pt x="66" y="82"/>
                    </a:lnTo>
                    <a:lnTo>
                      <a:pt x="66" y="116"/>
                    </a:lnTo>
                    <a:lnTo>
                      <a:pt x="154" y="116"/>
                    </a:lnTo>
                    <a:lnTo>
                      <a:pt x="154" y="95"/>
                    </a:lnTo>
                    <a:lnTo>
                      <a:pt x="196" y="95"/>
                    </a:lnTo>
                    <a:lnTo>
                      <a:pt x="196" y="140"/>
                    </a:lnTo>
                    <a:lnTo>
                      <a:pt x="26" y="140"/>
                    </a:lnTo>
                    <a:lnTo>
                      <a:pt x="26" y="82"/>
                    </a:lnTo>
                    <a:lnTo>
                      <a:pt x="0" y="82"/>
                    </a:lnTo>
                    <a:lnTo>
                      <a:pt x="0" y="56"/>
                    </a:lnTo>
                    <a:lnTo>
                      <a:pt x="26" y="56"/>
                    </a:lnTo>
                    <a:lnTo>
                      <a:pt x="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15">
                <a:extLst>
                  <a:ext uri="{FF2B5EF4-FFF2-40B4-BE49-F238E27FC236}">
                    <a16:creationId xmlns="" xmlns:a16="http://schemas.microsoft.com/office/drawing/2014/main" id="{790251BB-520C-402F-89AA-444E6C6FDC5D}"/>
                  </a:ext>
                </a:extLst>
              </p:cNvPr>
              <p:cNvSpPr>
                <a:spLocks/>
              </p:cNvSpPr>
              <p:nvPr userDrawn="1"/>
            </p:nvSpPr>
            <p:spPr bwMode="auto">
              <a:xfrm>
                <a:off x="7550150" y="2932113"/>
                <a:ext cx="295275" cy="231775"/>
              </a:xfrm>
              <a:custGeom>
                <a:avLst/>
                <a:gdLst>
                  <a:gd name="T0" fmla="*/ 0 w 186"/>
                  <a:gd name="T1" fmla="*/ 0 h 146"/>
                  <a:gd name="T2" fmla="*/ 144 w 186"/>
                  <a:gd name="T3" fmla="*/ 89 h 146"/>
                  <a:gd name="T4" fmla="*/ 144 w 186"/>
                  <a:gd name="T5" fmla="*/ 3 h 146"/>
                  <a:gd name="T6" fmla="*/ 186 w 186"/>
                  <a:gd name="T7" fmla="*/ 3 h 146"/>
                  <a:gd name="T8" fmla="*/ 186 w 186"/>
                  <a:gd name="T9" fmla="*/ 146 h 146"/>
                  <a:gd name="T10" fmla="*/ 43 w 186"/>
                  <a:gd name="T11" fmla="*/ 57 h 146"/>
                  <a:gd name="T12" fmla="*/ 43 w 186"/>
                  <a:gd name="T13" fmla="*/ 143 h 146"/>
                  <a:gd name="T14" fmla="*/ 0 w 186"/>
                  <a:gd name="T15" fmla="*/ 143 h 146"/>
                  <a:gd name="T16" fmla="*/ 0 w 186"/>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6">
                    <a:moveTo>
                      <a:pt x="0" y="0"/>
                    </a:moveTo>
                    <a:lnTo>
                      <a:pt x="144" y="89"/>
                    </a:lnTo>
                    <a:lnTo>
                      <a:pt x="144" y="3"/>
                    </a:lnTo>
                    <a:lnTo>
                      <a:pt x="186" y="3"/>
                    </a:lnTo>
                    <a:lnTo>
                      <a:pt x="186" y="146"/>
                    </a:lnTo>
                    <a:lnTo>
                      <a:pt x="43" y="57"/>
                    </a:lnTo>
                    <a:lnTo>
                      <a:pt x="43" y="143"/>
                    </a:lnTo>
                    <a:lnTo>
                      <a:pt x="0" y="14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16">
                <a:extLst>
                  <a:ext uri="{FF2B5EF4-FFF2-40B4-BE49-F238E27FC236}">
                    <a16:creationId xmlns="" xmlns:a16="http://schemas.microsoft.com/office/drawing/2014/main" id="{86A4F9E0-6B02-4441-B14C-26EC0BEFCE8A}"/>
                  </a:ext>
                </a:extLst>
              </p:cNvPr>
              <p:cNvSpPr>
                <a:spLocks/>
              </p:cNvSpPr>
              <p:nvPr userDrawn="1"/>
            </p:nvSpPr>
            <p:spPr bwMode="auto">
              <a:xfrm>
                <a:off x="7945438" y="2936875"/>
                <a:ext cx="312738" cy="222250"/>
              </a:xfrm>
              <a:custGeom>
                <a:avLst/>
                <a:gdLst>
                  <a:gd name="T0" fmla="*/ 28 w 197"/>
                  <a:gd name="T1" fmla="*/ 0 h 140"/>
                  <a:gd name="T2" fmla="*/ 197 w 197"/>
                  <a:gd name="T3" fmla="*/ 0 h 140"/>
                  <a:gd name="T4" fmla="*/ 197 w 197"/>
                  <a:gd name="T5" fmla="*/ 45 h 140"/>
                  <a:gd name="T6" fmla="*/ 156 w 197"/>
                  <a:gd name="T7" fmla="*/ 45 h 140"/>
                  <a:gd name="T8" fmla="*/ 156 w 197"/>
                  <a:gd name="T9" fmla="*/ 26 h 140"/>
                  <a:gd name="T10" fmla="*/ 68 w 197"/>
                  <a:gd name="T11" fmla="*/ 26 h 140"/>
                  <a:gd name="T12" fmla="*/ 68 w 197"/>
                  <a:gd name="T13" fmla="*/ 56 h 140"/>
                  <a:gd name="T14" fmla="*/ 159 w 197"/>
                  <a:gd name="T15" fmla="*/ 56 h 140"/>
                  <a:gd name="T16" fmla="*/ 159 w 197"/>
                  <a:gd name="T17" fmla="*/ 82 h 140"/>
                  <a:gd name="T18" fmla="*/ 68 w 197"/>
                  <a:gd name="T19" fmla="*/ 82 h 140"/>
                  <a:gd name="T20" fmla="*/ 68 w 197"/>
                  <a:gd name="T21" fmla="*/ 116 h 140"/>
                  <a:gd name="T22" fmla="*/ 156 w 197"/>
                  <a:gd name="T23" fmla="*/ 116 h 140"/>
                  <a:gd name="T24" fmla="*/ 156 w 197"/>
                  <a:gd name="T25" fmla="*/ 95 h 140"/>
                  <a:gd name="T26" fmla="*/ 197 w 197"/>
                  <a:gd name="T27" fmla="*/ 95 h 140"/>
                  <a:gd name="T28" fmla="*/ 197 w 197"/>
                  <a:gd name="T29" fmla="*/ 140 h 140"/>
                  <a:gd name="T30" fmla="*/ 28 w 197"/>
                  <a:gd name="T31" fmla="*/ 140 h 140"/>
                  <a:gd name="T32" fmla="*/ 28 w 197"/>
                  <a:gd name="T33" fmla="*/ 82 h 140"/>
                  <a:gd name="T34" fmla="*/ 0 w 197"/>
                  <a:gd name="T35" fmla="*/ 82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6"/>
                    </a:lnTo>
                    <a:lnTo>
                      <a:pt x="68" y="26"/>
                    </a:lnTo>
                    <a:lnTo>
                      <a:pt x="68" y="56"/>
                    </a:lnTo>
                    <a:lnTo>
                      <a:pt x="159" y="56"/>
                    </a:lnTo>
                    <a:lnTo>
                      <a:pt x="159" y="82"/>
                    </a:lnTo>
                    <a:lnTo>
                      <a:pt x="68" y="82"/>
                    </a:lnTo>
                    <a:lnTo>
                      <a:pt x="68" y="116"/>
                    </a:lnTo>
                    <a:lnTo>
                      <a:pt x="156" y="116"/>
                    </a:lnTo>
                    <a:lnTo>
                      <a:pt x="156" y="95"/>
                    </a:lnTo>
                    <a:lnTo>
                      <a:pt x="197" y="95"/>
                    </a:lnTo>
                    <a:lnTo>
                      <a:pt x="197" y="140"/>
                    </a:lnTo>
                    <a:lnTo>
                      <a:pt x="28" y="140"/>
                    </a:lnTo>
                    <a:lnTo>
                      <a:pt x="28" y="82"/>
                    </a:lnTo>
                    <a:lnTo>
                      <a:pt x="0" y="82"/>
                    </a:lnTo>
                    <a:lnTo>
                      <a:pt x="0" y="56"/>
                    </a:lnTo>
                    <a:lnTo>
                      <a:pt x="28" y="56"/>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7">
                <a:extLst>
                  <a:ext uri="{FF2B5EF4-FFF2-40B4-BE49-F238E27FC236}">
                    <a16:creationId xmlns="" xmlns:a16="http://schemas.microsoft.com/office/drawing/2014/main" id="{8F33982F-5B89-40BC-BB97-37CCD6E7690E}"/>
                  </a:ext>
                </a:extLst>
              </p:cNvPr>
              <p:cNvSpPr>
                <a:spLocks noEditPoints="1"/>
              </p:cNvSpPr>
              <p:nvPr userDrawn="1"/>
            </p:nvSpPr>
            <p:spPr bwMode="auto">
              <a:xfrm>
                <a:off x="8351838" y="2936875"/>
                <a:ext cx="334963" cy="222250"/>
              </a:xfrm>
              <a:custGeom>
                <a:avLst/>
                <a:gdLst>
                  <a:gd name="T0" fmla="*/ 66 w 211"/>
                  <a:gd name="T1" fmla="*/ 26 h 140"/>
                  <a:gd name="T2" fmla="*/ 66 w 211"/>
                  <a:gd name="T3" fmla="*/ 56 h 140"/>
                  <a:gd name="T4" fmla="*/ 139 w 211"/>
                  <a:gd name="T5" fmla="*/ 56 h 140"/>
                  <a:gd name="T6" fmla="*/ 152 w 211"/>
                  <a:gd name="T7" fmla="*/ 54 h 140"/>
                  <a:gd name="T8" fmla="*/ 161 w 211"/>
                  <a:gd name="T9" fmla="*/ 51 h 140"/>
                  <a:gd name="T10" fmla="*/ 166 w 211"/>
                  <a:gd name="T11" fmla="*/ 47 h 140"/>
                  <a:gd name="T12" fmla="*/ 167 w 211"/>
                  <a:gd name="T13" fmla="*/ 41 h 140"/>
                  <a:gd name="T14" fmla="*/ 166 w 211"/>
                  <a:gd name="T15" fmla="*/ 35 h 140"/>
                  <a:gd name="T16" fmla="*/ 161 w 211"/>
                  <a:gd name="T17" fmla="*/ 30 h 140"/>
                  <a:gd name="T18" fmla="*/ 152 w 211"/>
                  <a:gd name="T19" fmla="*/ 27 h 140"/>
                  <a:gd name="T20" fmla="*/ 139 w 211"/>
                  <a:gd name="T21" fmla="*/ 26 h 140"/>
                  <a:gd name="T22" fmla="*/ 66 w 211"/>
                  <a:gd name="T23" fmla="*/ 26 h 140"/>
                  <a:gd name="T24" fmla="*/ 25 w 211"/>
                  <a:gd name="T25" fmla="*/ 0 h 140"/>
                  <a:gd name="T26" fmla="*/ 136 w 211"/>
                  <a:gd name="T27" fmla="*/ 0 h 140"/>
                  <a:gd name="T28" fmla="*/ 163 w 211"/>
                  <a:gd name="T29" fmla="*/ 3 h 140"/>
                  <a:gd name="T30" fmla="*/ 182 w 211"/>
                  <a:gd name="T31" fmla="*/ 8 h 140"/>
                  <a:gd name="T32" fmla="*/ 198 w 211"/>
                  <a:gd name="T33" fmla="*/ 17 h 140"/>
                  <a:gd name="T34" fmla="*/ 207 w 211"/>
                  <a:gd name="T35" fmla="*/ 27 h 140"/>
                  <a:gd name="T36" fmla="*/ 210 w 211"/>
                  <a:gd name="T37" fmla="*/ 41 h 140"/>
                  <a:gd name="T38" fmla="*/ 207 w 211"/>
                  <a:gd name="T39" fmla="*/ 51 h 140"/>
                  <a:gd name="T40" fmla="*/ 201 w 211"/>
                  <a:gd name="T41" fmla="*/ 62 h 140"/>
                  <a:gd name="T42" fmla="*/ 190 w 211"/>
                  <a:gd name="T43" fmla="*/ 70 h 140"/>
                  <a:gd name="T44" fmla="*/ 175 w 211"/>
                  <a:gd name="T45" fmla="*/ 77 h 140"/>
                  <a:gd name="T46" fmla="*/ 152 w 211"/>
                  <a:gd name="T47" fmla="*/ 80 h 140"/>
                  <a:gd name="T48" fmla="*/ 211 w 211"/>
                  <a:gd name="T49" fmla="*/ 140 h 140"/>
                  <a:gd name="T50" fmla="*/ 163 w 211"/>
                  <a:gd name="T51" fmla="*/ 140 h 140"/>
                  <a:gd name="T52" fmla="*/ 107 w 211"/>
                  <a:gd name="T53" fmla="*/ 82 h 140"/>
                  <a:gd name="T54" fmla="*/ 66 w 211"/>
                  <a:gd name="T55" fmla="*/ 82 h 140"/>
                  <a:gd name="T56" fmla="*/ 66 w 211"/>
                  <a:gd name="T57" fmla="*/ 140 h 140"/>
                  <a:gd name="T58" fmla="*/ 25 w 211"/>
                  <a:gd name="T59" fmla="*/ 140 h 140"/>
                  <a:gd name="T60" fmla="*/ 25 w 211"/>
                  <a:gd name="T61" fmla="*/ 82 h 140"/>
                  <a:gd name="T62" fmla="*/ 0 w 211"/>
                  <a:gd name="T63" fmla="*/ 82 h 140"/>
                  <a:gd name="T64" fmla="*/ 0 w 211"/>
                  <a:gd name="T65" fmla="*/ 56 h 140"/>
                  <a:gd name="T66" fmla="*/ 25 w 211"/>
                  <a:gd name="T67" fmla="*/ 56 h 140"/>
                  <a:gd name="T68" fmla="*/ 25 w 211"/>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140">
                    <a:moveTo>
                      <a:pt x="66" y="26"/>
                    </a:moveTo>
                    <a:lnTo>
                      <a:pt x="66" y="56"/>
                    </a:lnTo>
                    <a:lnTo>
                      <a:pt x="139" y="56"/>
                    </a:lnTo>
                    <a:lnTo>
                      <a:pt x="152" y="54"/>
                    </a:lnTo>
                    <a:lnTo>
                      <a:pt x="161" y="51"/>
                    </a:lnTo>
                    <a:lnTo>
                      <a:pt x="166" y="47"/>
                    </a:lnTo>
                    <a:lnTo>
                      <a:pt x="167" y="41"/>
                    </a:lnTo>
                    <a:lnTo>
                      <a:pt x="166" y="35"/>
                    </a:lnTo>
                    <a:lnTo>
                      <a:pt x="161" y="30"/>
                    </a:lnTo>
                    <a:lnTo>
                      <a:pt x="152" y="27"/>
                    </a:lnTo>
                    <a:lnTo>
                      <a:pt x="139" y="26"/>
                    </a:lnTo>
                    <a:lnTo>
                      <a:pt x="66" y="26"/>
                    </a:lnTo>
                    <a:close/>
                    <a:moveTo>
                      <a:pt x="25" y="0"/>
                    </a:moveTo>
                    <a:lnTo>
                      <a:pt x="136" y="0"/>
                    </a:lnTo>
                    <a:lnTo>
                      <a:pt x="163" y="3"/>
                    </a:lnTo>
                    <a:lnTo>
                      <a:pt x="182" y="8"/>
                    </a:lnTo>
                    <a:lnTo>
                      <a:pt x="198" y="17"/>
                    </a:lnTo>
                    <a:lnTo>
                      <a:pt x="207" y="27"/>
                    </a:lnTo>
                    <a:lnTo>
                      <a:pt x="210" y="41"/>
                    </a:lnTo>
                    <a:lnTo>
                      <a:pt x="207" y="51"/>
                    </a:lnTo>
                    <a:lnTo>
                      <a:pt x="201" y="62"/>
                    </a:lnTo>
                    <a:lnTo>
                      <a:pt x="190" y="70"/>
                    </a:lnTo>
                    <a:lnTo>
                      <a:pt x="175" y="77"/>
                    </a:lnTo>
                    <a:lnTo>
                      <a:pt x="152" y="80"/>
                    </a:lnTo>
                    <a:lnTo>
                      <a:pt x="211" y="140"/>
                    </a:lnTo>
                    <a:lnTo>
                      <a:pt x="163" y="140"/>
                    </a:lnTo>
                    <a:lnTo>
                      <a:pt x="107" y="82"/>
                    </a:lnTo>
                    <a:lnTo>
                      <a:pt x="66" y="82"/>
                    </a:lnTo>
                    <a:lnTo>
                      <a:pt x="66" y="140"/>
                    </a:lnTo>
                    <a:lnTo>
                      <a:pt x="25" y="140"/>
                    </a:lnTo>
                    <a:lnTo>
                      <a:pt x="25" y="82"/>
                    </a:lnTo>
                    <a:lnTo>
                      <a:pt x="0" y="82"/>
                    </a:lnTo>
                    <a:lnTo>
                      <a:pt x="0" y="56"/>
                    </a:lnTo>
                    <a:lnTo>
                      <a:pt x="25" y="56"/>
                    </a:lnTo>
                    <a:lnTo>
                      <a:pt x="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8">
                <a:extLst>
                  <a:ext uri="{FF2B5EF4-FFF2-40B4-BE49-F238E27FC236}">
                    <a16:creationId xmlns="" xmlns:a16="http://schemas.microsoft.com/office/drawing/2014/main" id="{772C22D9-9E14-425A-93A0-1E2F6C5995B1}"/>
                  </a:ext>
                </a:extLst>
              </p:cNvPr>
              <p:cNvSpPr>
                <a:spLocks/>
              </p:cNvSpPr>
              <p:nvPr userDrawn="1"/>
            </p:nvSpPr>
            <p:spPr bwMode="auto">
              <a:xfrm>
                <a:off x="8753475" y="2932113"/>
                <a:ext cx="379413" cy="231775"/>
              </a:xfrm>
              <a:custGeom>
                <a:avLst/>
                <a:gdLst>
                  <a:gd name="T0" fmla="*/ 120 w 239"/>
                  <a:gd name="T1" fmla="*/ 0 h 146"/>
                  <a:gd name="T2" fmla="*/ 145 w 239"/>
                  <a:gd name="T3" fmla="*/ 3 h 146"/>
                  <a:gd name="T4" fmla="*/ 171 w 239"/>
                  <a:gd name="T5" fmla="*/ 8 h 146"/>
                  <a:gd name="T6" fmla="*/ 194 w 239"/>
                  <a:gd name="T7" fmla="*/ 17 h 146"/>
                  <a:gd name="T8" fmla="*/ 213 w 239"/>
                  <a:gd name="T9" fmla="*/ 29 h 146"/>
                  <a:gd name="T10" fmla="*/ 180 w 239"/>
                  <a:gd name="T11" fmla="*/ 45 h 146"/>
                  <a:gd name="T12" fmla="*/ 164 w 239"/>
                  <a:gd name="T13" fmla="*/ 35 h 146"/>
                  <a:gd name="T14" fmla="*/ 142 w 239"/>
                  <a:gd name="T15" fmla="*/ 27 h 146"/>
                  <a:gd name="T16" fmla="*/ 120 w 239"/>
                  <a:gd name="T17" fmla="*/ 26 h 146"/>
                  <a:gd name="T18" fmla="*/ 96 w 239"/>
                  <a:gd name="T19" fmla="*/ 27 h 146"/>
                  <a:gd name="T20" fmla="*/ 74 w 239"/>
                  <a:gd name="T21" fmla="*/ 35 h 146"/>
                  <a:gd name="T22" fmla="*/ 58 w 239"/>
                  <a:gd name="T23" fmla="*/ 45 h 146"/>
                  <a:gd name="T24" fmla="*/ 47 w 239"/>
                  <a:gd name="T25" fmla="*/ 57 h 146"/>
                  <a:gd name="T26" fmla="*/ 43 w 239"/>
                  <a:gd name="T27" fmla="*/ 74 h 146"/>
                  <a:gd name="T28" fmla="*/ 47 w 239"/>
                  <a:gd name="T29" fmla="*/ 89 h 146"/>
                  <a:gd name="T30" fmla="*/ 58 w 239"/>
                  <a:gd name="T31" fmla="*/ 103 h 146"/>
                  <a:gd name="T32" fmla="*/ 74 w 239"/>
                  <a:gd name="T33" fmla="*/ 113 h 146"/>
                  <a:gd name="T34" fmla="*/ 96 w 239"/>
                  <a:gd name="T35" fmla="*/ 119 h 146"/>
                  <a:gd name="T36" fmla="*/ 120 w 239"/>
                  <a:gd name="T37" fmla="*/ 122 h 146"/>
                  <a:gd name="T38" fmla="*/ 145 w 239"/>
                  <a:gd name="T39" fmla="*/ 119 h 146"/>
                  <a:gd name="T40" fmla="*/ 168 w 239"/>
                  <a:gd name="T41" fmla="*/ 112 h 146"/>
                  <a:gd name="T42" fmla="*/ 185 w 239"/>
                  <a:gd name="T43" fmla="*/ 100 h 146"/>
                  <a:gd name="T44" fmla="*/ 195 w 239"/>
                  <a:gd name="T45" fmla="*/ 85 h 146"/>
                  <a:gd name="T46" fmla="*/ 118 w 239"/>
                  <a:gd name="T47" fmla="*/ 85 h 146"/>
                  <a:gd name="T48" fmla="*/ 118 w 239"/>
                  <a:gd name="T49" fmla="*/ 59 h 146"/>
                  <a:gd name="T50" fmla="*/ 239 w 239"/>
                  <a:gd name="T51" fmla="*/ 59 h 146"/>
                  <a:gd name="T52" fmla="*/ 239 w 239"/>
                  <a:gd name="T53" fmla="*/ 79 h 146"/>
                  <a:gd name="T54" fmla="*/ 238 w 239"/>
                  <a:gd name="T55" fmla="*/ 88 h 146"/>
                  <a:gd name="T56" fmla="*/ 231 w 239"/>
                  <a:gd name="T57" fmla="*/ 98 h 146"/>
                  <a:gd name="T58" fmla="*/ 224 w 239"/>
                  <a:gd name="T59" fmla="*/ 110 h 146"/>
                  <a:gd name="T60" fmla="*/ 212 w 239"/>
                  <a:gd name="T61" fmla="*/ 121 h 146"/>
                  <a:gd name="T62" fmla="*/ 195 w 239"/>
                  <a:gd name="T63" fmla="*/ 131 h 146"/>
                  <a:gd name="T64" fmla="*/ 174 w 239"/>
                  <a:gd name="T65" fmla="*/ 139 h 146"/>
                  <a:gd name="T66" fmla="*/ 148 w 239"/>
                  <a:gd name="T67" fmla="*/ 145 h 146"/>
                  <a:gd name="T68" fmla="*/ 120 w 239"/>
                  <a:gd name="T69" fmla="*/ 146 h 146"/>
                  <a:gd name="T70" fmla="*/ 86 w 239"/>
                  <a:gd name="T71" fmla="*/ 143 h 146"/>
                  <a:gd name="T72" fmla="*/ 59 w 239"/>
                  <a:gd name="T73" fmla="*/ 136 h 146"/>
                  <a:gd name="T74" fmla="*/ 35 w 239"/>
                  <a:gd name="T75" fmla="*/ 125 h 146"/>
                  <a:gd name="T76" fmla="*/ 15 w 239"/>
                  <a:gd name="T77" fmla="*/ 110 h 146"/>
                  <a:gd name="T78" fmla="*/ 3 w 239"/>
                  <a:gd name="T79" fmla="*/ 94 h 146"/>
                  <a:gd name="T80" fmla="*/ 0 w 239"/>
                  <a:gd name="T81" fmla="*/ 74 h 146"/>
                  <a:gd name="T82" fmla="*/ 3 w 239"/>
                  <a:gd name="T83" fmla="*/ 54 h 146"/>
                  <a:gd name="T84" fmla="*/ 15 w 239"/>
                  <a:gd name="T85" fmla="*/ 36 h 146"/>
                  <a:gd name="T86" fmla="*/ 35 w 239"/>
                  <a:gd name="T87" fmla="*/ 21 h 146"/>
                  <a:gd name="T88" fmla="*/ 59 w 239"/>
                  <a:gd name="T89" fmla="*/ 11 h 146"/>
                  <a:gd name="T90" fmla="*/ 86 w 239"/>
                  <a:gd name="T91" fmla="*/ 3 h 146"/>
                  <a:gd name="T92" fmla="*/ 120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20" y="0"/>
                    </a:moveTo>
                    <a:lnTo>
                      <a:pt x="145" y="3"/>
                    </a:lnTo>
                    <a:lnTo>
                      <a:pt x="171" y="8"/>
                    </a:lnTo>
                    <a:lnTo>
                      <a:pt x="194" y="17"/>
                    </a:lnTo>
                    <a:lnTo>
                      <a:pt x="213" y="29"/>
                    </a:lnTo>
                    <a:lnTo>
                      <a:pt x="180" y="45"/>
                    </a:lnTo>
                    <a:lnTo>
                      <a:pt x="164" y="35"/>
                    </a:lnTo>
                    <a:lnTo>
                      <a:pt x="142" y="27"/>
                    </a:lnTo>
                    <a:lnTo>
                      <a:pt x="120" y="26"/>
                    </a:lnTo>
                    <a:lnTo>
                      <a:pt x="96" y="27"/>
                    </a:lnTo>
                    <a:lnTo>
                      <a:pt x="74" y="35"/>
                    </a:lnTo>
                    <a:lnTo>
                      <a:pt x="58" y="45"/>
                    </a:lnTo>
                    <a:lnTo>
                      <a:pt x="47" y="57"/>
                    </a:lnTo>
                    <a:lnTo>
                      <a:pt x="43" y="74"/>
                    </a:lnTo>
                    <a:lnTo>
                      <a:pt x="47" y="89"/>
                    </a:lnTo>
                    <a:lnTo>
                      <a:pt x="58" y="103"/>
                    </a:lnTo>
                    <a:lnTo>
                      <a:pt x="74" y="113"/>
                    </a:lnTo>
                    <a:lnTo>
                      <a:pt x="96" y="119"/>
                    </a:lnTo>
                    <a:lnTo>
                      <a:pt x="120" y="122"/>
                    </a:lnTo>
                    <a:lnTo>
                      <a:pt x="145" y="119"/>
                    </a:lnTo>
                    <a:lnTo>
                      <a:pt x="168" y="112"/>
                    </a:lnTo>
                    <a:lnTo>
                      <a:pt x="185" y="100"/>
                    </a:lnTo>
                    <a:lnTo>
                      <a:pt x="195" y="85"/>
                    </a:lnTo>
                    <a:lnTo>
                      <a:pt x="118" y="85"/>
                    </a:lnTo>
                    <a:lnTo>
                      <a:pt x="118" y="59"/>
                    </a:lnTo>
                    <a:lnTo>
                      <a:pt x="239" y="59"/>
                    </a:lnTo>
                    <a:lnTo>
                      <a:pt x="239" y="79"/>
                    </a:lnTo>
                    <a:lnTo>
                      <a:pt x="238" y="88"/>
                    </a:lnTo>
                    <a:lnTo>
                      <a:pt x="231" y="98"/>
                    </a:lnTo>
                    <a:lnTo>
                      <a:pt x="224" y="110"/>
                    </a:lnTo>
                    <a:lnTo>
                      <a:pt x="212" y="121"/>
                    </a:lnTo>
                    <a:lnTo>
                      <a:pt x="195" y="131"/>
                    </a:lnTo>
                    <a:lnTo>
                      <a:pt x="174" y="139"/>
                    </a:lnTo>
                    <a:lnTo>
                      <a:pt x="148" y="145"/>
                    </a:lnTo>
                    <a:lnTo>
                      <a:pt x="120" y="146"/>
                    </a:lnTo>
                    <a:lnTo>
                      <a:pt x="86" y="143"/>
                    </a:lnTo>
                    <a:lnTo>
                      <a:pt x="59" y="136"/>
                    </a:lnTo>
                    <a:lnTo>
                      <a:pt x="35" y="125"/>
                    </a:lnTo>
                    <a:lnTo>
                      <a:pt x="15" y="110"/>
                    </a:lnTo>
                    <a:lnTo>
                      <a:pt x="3" y="94"/>
                    </a:lnTo>
                    <a:lnTo>
                      <a:pt x="0" y="74"/>
                    </a:lnTo>
                    <a:lnTo>
                      <a:pt x="3" y="54"/>
                    </a:lnTo>
                    <a:lnTo>
                      <a:pt x="15" y="36"/>
                    </a:lnTo>
                    <a:lnTo>
                      <a:pt x="35" y="21"/>
                    </a:lnTo>
                    <a:lnTo>
                      <a:pt x="59" y="11"/>
                    </a:lnTo>
                    <a:lnTo>
                      <a:pt x="86" y="3"/>
                    </a:lnTo>
                    <a:lnTo>
                      <a:pt x="1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19">
                <a:extLst>
                  <a:ext uri="{FF2B5EF4-FFF2-40B4-BE49-F238E27FC236}">
                    <a16:creationId xmlns="" xmlns:a16="http://schemas.microsoft.com/office/drawing/2014/main" id="{0295763C-36DE-4C81-9529-9F4ED4B6199B}"/>
                  </a:ext>
                </a:extLst>
              </p:cNvPr>
              <p:cNvSpPr>
                <a:spLocks/>
              </p:cNvSpPr>
              <p:nvPr userDrawn="1"/>
            </p:nvSpPr>
            <p:spPr bwMode="auto">
              <a:xfrm>
                <a:off x="9159875" y="2936875"/>
                <a:ext cx="319088" cy="222250"/>
              </a:xfrm>
              <a:custGeom>
                <a:avLst/>
                <a:gdLst>
                  <a:gd name="T0" fmla="*/ 0 w 201"/>
                  <a:gd name="T1" fmla="*/ 0 h 140"/>
                  <a:gd name="T2" fmla="*/ 48 w 201"/>
                  <a:gd name="T3" fmla="*/ 0 h 140"/>
                  <a:gd name="T4" fmla="*/ 101 w 201"/>
                  <a:gd name="T5" fmla="*/ 54 h 140"/>
                  <a:gd name="T6" fmla="*/ 154 w 201"/>
                  <a:gd name="T7" fmla="*/ 0 h 140"/>
                  <a:gd name="T8" fmla="*/ 201 w 201"/>
                  <a:gd name="T9" fmla="*/ 0 h 140"/>
                  <a:gd name="T10" fmla="*/ 120 w 201"/>
                  <a:gd name="T11" fmla="*/ 79 h 140"/>
                  <a:gd name="T12" fmla="*/ 120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8" y="0"/>
                    </a:lnTo>
                    <a:lnTo>
                      <a:pt x="101" y="54"/>
                    </a:lnTo>
                    <a:lnTo>
                      <a:pt x="154" y="0"/>
                    </a:lnTo>
                    <a:lnTo>
                      <a:pt x="201" y="0"/>
                    </a:lnTo>
                    <a:lnTo>
                      <a:pt x="120" y="79"/>
                    </a:lnTo>
                    <a:lnTo>
                      <a:pt x="120" y="140"/>
                    </a:lnTo>
                    <a:lnTo>
                      <a:pt x="80" y="140"/>
                    </a:lnTo>
                    <a:lnTo>
                      <a:pt x="80" y="7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0">
                <a:extLst>
                  <a:ext uri="{FF2B5EF4-FFF2-40B4-BE49-F238E27FC236}">
                    <a16:creationId xmlns="" xmlns:a16="http://schemas.microsoft.com/office/drawing/2014/main" id="{DC5976AD-8F89-4AEC-AE2E-3EE554F612BA}"/>
                  </a:ext>
                </a:extLst>
              </p:cNvPr>
              <p:cNvSpPr>
                <a:spLocks noEditPoints="1"/>
              </p:cNvSpPr>
              <p:nvPr userDrawn="1"/>
            </p:nvSpPr>
            <p:spPr bwMode="auto">
              <a:xfrm>
                <a:off x="7137400" y="2624138"/>
                <a:ext cx="427038" cy="255588"/>
              </a:xfrm>
              <a:custGeom>
                <a:avLst/>
                <a:gdLst>
                  <a:gd name="T0" fmla="*/ 118 w 269"/>
                  <a:gd name="T1" fmla="*/ 45 h 161"/>
                  <a:gd name="T2" fmla="*/ 85 w 269"/>
                  <a:gd name="T3" fmla="*/ 105 h 161"/>
                  <a:gd name="T4" fmla="*/ 148 w 269"/>
                  <a:gd name="T5" fmla="*/ 105 h 161"/>
                  <a:gd name="T6" fmla="*/ 118 w 269"/>
                  <a:gd name="T7" fmla="*/ 45 h 161"/>
                  <a:gd name="T8" fmla="*/ 97 w 269"/>
                  <a:gd name="T9" fmla="*/ 0 h 161"/>
                  <a:gd name="T10" fmla="*/ 182 w 269"/>
                  <a:gd name="T11" fmla="*/ 0 h 161"/>
                  <a:gd name="T12" fmla="*/ 269 w 269"/>
                  <a:gd name="T13" fmla="*/ 158 h 161"/>
                  <a:gd name="T14" fmla="*/ 269 w 269"/>
                  <a:gd name="T15" fmla="*/ 161 h 161"/>
                  <a:gd name="T16" fmla="*/ 179 w 269"/>
                  <a:gd name="T17" fmla="*/ 161 h 161"/>
                  <a:gd name="T18" fmla="*/ 162 w 269"/>
                  <a:gd name="T19" fmla="*/ 131 h 161"/>
                  <a:gd name="T20" fmla="*/ 73 w 269"/>
                  <a:gd name="T21" fmla="*/ 131 h 161"/>
                  <a:gd name="T22" fmla="*/ 58 w 269"/>
                  <a:gd name="T23" fmla="*/ 161 h 161"/>
                  <a:gd name="T24" fmla="*/ 0 w 269"/>
                  <a:gd name="T25" fmla="*/ 161 h 161"/>
                  <a:gd name="T26" fmla="*/ 0 w 269"/>
                  <a:gd name="T27" fmla="*/ 158 h 161"/>
                  <a:gd name="T28" fmla="*/ 97 w 269"/>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9" h="161">
                    <a:moveTo>
                      <a:pt x="118" y="45"/>
                    </a:moveTo>
                    <a:lnTo>
                      <a:pt x="85" y="105"/>
                    </a:lnTo>
                    <a:lnTo>
                      <a:pt x="148" y="105"/>
                    </a:lnTo>
                    <a:lnTo>
                      <a:pt x="118" y="45"/>
                    </a:lnTo>
                    <a:close/>
                    <a:moveTo>
                      <a:pt x="97" y="0"/>
                    </a:moveTo>
                    <a:lnTo>
                      <a:pt x="182" y="0"/>
                    </a:lnTo>
                    <a:lnTo>
                      <a:pt x="269" y="158"/>
                    </a:lnTo>
                    <a:lnTo>
                      <a:pt x="269" y="161"/>
                    </a:lnTo>
                    <a:lnTo>
                      <a:pt x="179" y="161"/>
                    </a:lnTo>
                    <a:lnTo>
                      <a:pt x="162" y="131"/>
                    </a:lnTo>
                    <a:lnTo>
                      <a:pt x="73" y="131"/>
                    </a:lnTo>
                    <a:lnTo>
                      <a:pt x="58" y="161"/>
                    </a:lnTo>
                    <a:lnTo>
                      <a:pt x="0" y="161"/>
                    </a:lnTo>
                    <a:lnTo>
                      <a:pt x="0" y="158"/>
                    </a:lnTo>
                    <a:lnTo>
                      <a:pt x="9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1">
                <a:extLst>
                  <a:ext uri="{FF2B5EF4-FFF2-40B4-BE49-F238E27FC236}">
                    <a16:creationId xmlns="" xmlns:a16="http://schemas.microsoft.com/office/drawing/2014/main" id="{D7220C68-717C-467F-8393-D338CEDFB604}"/>
                  </a:ext>
                </a:extLst>
              </p:cNvPr>
              <p:cNvSpPr>
                <a:spLocks/>
              </p:cNvSpPr>
              <p:nvPr userDrawn="1"/>
            </p:nvSpPr>
            <p:spPr bwMode="auto">
              <a:xfrm>
                <a:off x="7597775" y="2624138"/>
                <a:ext cx="387350" cy="265113"/>
              </a:xfrm>
              <a:custGeom>
                <a:avLst/>
                <a:gdLst>
                  <a:gd name="T0" fmla="*/ 0 w 244"/>
                  <a:gd name="T1" fmla="*/ 0 h 167"/>
                  <a:gd name="T2" fmla="*/ 83 w 244"/>
                  <a:gd name="T3" fmla="*/ 0 h 167"/>
                  <a:gd name="T4" fmla="*/ 83 w 244"/>
                  <a:gd name="T5" fmla="*/ 6 h 167"/>
                  <a:gd name="T6" fmla="*/ 83 w 244"/>
                  <a:gd name="T7" fmla="*/ 18 h 167"/>
                  <a:gd name="T8" fmla="*/ 83 w 244"/>
                  <a:gd name="T9" fmla="*/ 80 h 167"/>
                  <a:gd name="T10" fmla="*/ 83 w 244"/>
                  <a:gd name="T11" fmla="*/ 96 h 167"/>
                  <a:gd name="T12" fmla="*/ 83 w 244"/>
                  <a:gd name="T13" fmla="*/ 108 h 167"/>
                  <a:gd name="T14" fmla="*/ 85 w 244"/>
                  <a:gd name="T15" fmla="*/ 119 h 167"/>
                  <a:gd name="T16" fmla="*/ 90 w 244"/>
                  <a:gd name="T17" fmla="*/ 128 h 167"/>
                  <a:gd name="T18" fmla="*/ 96 w 244"/>
                  <a:gd name="T19" fmla="*/ 134 h 167"/>
                  <a:gd name="T20" fmla="*/ 106 w 244"/>
                  <a:gd name="T21" fmla="*/ 139 h 167"/>
                  <a:gd name="T22" fmla="*/ 121 w 244"/>
                  <a:gd name="T23" fmla="*/ 140 h 167"/>
                  <a:gd name="T24" fmla="*/ 136 w 244"/>
                  <a:gd name="T25" fmla="*/ 139 h 167"/>
                  <a:gd name="T26" fmla="*/ 148 w 244"/>
                  <a:gd name="T27" fmla="*/ 134 h 167"/>
                  <a:gd name="T28" fmla="*/ 154 w 244"/>
                  <a:gd name="T29" fmla="*/ 128 h 167"/>
                  <a:gd name="T30" fmla="*/ 159 w 244"/>
                  <a:gd name="T31" fmla="*/ 119 h 167"/>
                  <a:gd name="T32" fmla="*/ 161 w 244"/>
                  <a:gd name="T33" fmla="*/ 108 h 167"/>
                  <a:gd name="T34" fmla="*/ 161 w 244"/>
                  <a:gd name="T35" fmla="*/ 96 h 167"/>
                  <a:gd name="T36" fmla="*/ 161 w 244"/>
                  <a:gd name="T37" fmla="*/ 80 h 167"/>
                  <a:gd name="T38" fmla="*/ 161 w 244"/>
                  <a:gd name="T39" fmla="*/ 59 h 167"/>
                  <a:gd name="T40" fmla="*/ 161 w 244"/>
                  <a:gd name="T41" fmla="*/ 0 h 167"/>
                  <a:gd name="T42" fmla="*/ 244 w 244"/>
                  <a:gd name="T43" fmla="*/ 0 h 167"/>
                  <a:gd name="T44" fmla="*/ 244 w 244"/>
                  <a:gd name="T45" fmla="*/ 6 h 167"/>
                  <a:gd name="T46" fmla="*/ 244 w 244"/>
                  <a:gd name="T47" fmla="*/ 20 h 167"/>
                  <a:gd name="T48" fmla="*/ 244 w 244"/>
                  <a:gd name="T49" fmla="*/ 38 h 167"/>
                  <a:gd name="T50" fmla="*/ 244 w 244"/>
                  <a:gd name="T51" fmla="*/ 59 h 167"/>
                  <a:gd name="T52" fmla="*/ 244 w 244"/>
                  <a:gd name="T53" fmla="*/ 78 h 167"/>
                  <a:gd name="T54" fmla="*/ 244 w 244"/>
                  <a:gd name="T55" fmla="*/ 93 h 167"/>
                  <a:gd name="T56" fmla="*/ 241 w 244"/>
                  <a:gd name="T57" fmla="*/ 113 h 167"/>
                  <a:gd name="T58" fmla="*/ 232 w 244"/>
                  <a:gd name="T59" fmla="*/ 129 h 167"/>
                  <a:gd name="T60" fmla="*/ 218 w 244"/>
                  <a:gd name="T61" fmla="*/ 143 h 167"/>
                  <a:gd name="T62" fmla="*/ 198 w 244"/>
                  <a:gd name="T63" fmla="*/ 154 h 167"/>
                  <a:gd name="T64" fmla="*/ 176 w 244"/>
                  <a:gd name="T65" fmla="*/ 161 h 167"/>
                  <a:gd name="T66" fmla="*/ 150 w 244"/>
                  <a:gd name="T67" fmla="*/ 166 h 167"/>
                  <a:gd name="T68" fmla="*/ 121 w 244"/>
                  <a:gd name="T69" fmla="*/ 167 h 167"/>
                  <a:gd name="T70" fmla="*/ 93 w 244"/>
                  <a:gd name="T71" fmla="*/ 166 h 167"/>
                  <a:gd name="T72" fmla="*/ 67 w 244"/>
                  <a:gd name="T73" fmla="*/ 161 h 167"/>
                  <a:gd name="T74" fmla="*/ 44 w 244"/>
                  <a:gd name="T75" fmla="*/ 154 h 167"/>
                  <a:gd name="T76" fmla="*/ 26 w 244"/>
                  <a:gd name="T77" fmla="*/ 143 h 167"/>
                  <a:gd name="T78" fmla="*/ 13 w 244"/>
                  <a:gd name="T79" fmla="*/ 129 h 167"/>
                  <a:gd name="T80" fmla="*/ 3 w 244"/>
                  <a:gd name="T81" fmla="*/ 113 h 167"/>
                  <a:gd name="T82" fmla="*/ 0 w 244"/>
                  <a:gd name="T83" fmla="*/ 93 h 167"/>
                  <a:gd name="T84" fmla="*/ 0 w 244"/>
                  <a:gd name="T8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167">
                    <a:moveTo>
                      <a:pt x="0" y="0"/>
                    </a:moveTo>
                    <a:lnTo>
                      <a:pt x="83" y="0"/>
                    </a:lnTo>
                    <a:lnTo>
                      <a:pt x="83" y="6"/>
                    </a:lnTo>
                    <a:lnTo>
                      <a:pt x="83" y="18"/>
                    </a:lnTo>
                    <a:lnTo>
                      <a:pt x="83" y="80"/>
                    </a:lnTo>
                    <a:lnTo>
                      <a:pt x="83" y="96"/>
                    </a:lnTo>
                    <a:lnTo>
                      <a:pt x="83" y="108"/>
                    </a:lnTo>
                    <a:lnTo>
                      <a:pt x="85" y="119"/>
                    </a:lnTo>
                    <a:lnTo>
                      <a:pt x="90" y="128"/>
                    </a:lnTo>
                    <a:lnTo>
                      <a:pt x="96" y="134"/>
                    </a:lnTo>
                    <a:lnTo>
                      <a:pt x="106" y="139"/>
                    </a:lnTo>
                    <a:lnTo>
                      <a:pt x="121" y="140"/>
                    </a:lnTo>
                    <a:lnTo>
                      <a:pt x="136" y="139"/>
                    </a:lnTo>
                    <a:lnTo>
                      <a:pt x="148" y="134"/>
                    </a:lnTo>
                    <a:lnTo>
                      <a:pt x="154" y="128"/>
                    </a:lnTo>
                    <a:lnTo>
                      <a:pt x="159" y="119"/>
                    </a:lnTo>
                    <a:lnTo>
                      <a:pt x="161" y="108"/>
                    </a:lnTo>
                    <a:lnTo>
                      <a:pt x="161" y="96"/>
                    </a:lnTo>
                    <a:lnTo>
                      <a:pt x="161" y="80"/>
                    </a:lnTo>
                    <a:lnTo>
                      <a:pt x="161" y="59"/>
                    </a:lnTo>
                    <a:lnTo>
                      <a:pt x="161" y="0"/>
                    </a:lnTo>
                    <a:lnTo>
                      <a:pt x="244" y="0"/>
                    </a:lnTo>
                    <a:lnTo>
                      <a:pt x="244" y="6"/>
                    </a:lnTo>
                    <a:lnTo>
                      <a:pt x="244" y="20"/>
                    </a:lnTo>
                    <a:lnTo>
                      <a:pt x="244" y="38"/>
                    </a:lnTo>
                    <a:lnTo>
                      <a:pt x="244" y="59"/>
                    </a:lnTo>
                    <a:lnTo>
                      <a:pt x="244" y="78"/>
                    </a:lnTo>
                    <a:lnTo>
                      <a:pt x="244" y="93"/>
                    </a:lnTo>
                    <a:lnTo>
                      <a:pt x="241" y="113"/>
                    </a:lnTo>
                    <a:lnTo>
                      <a:pt x="232" y="129"/>
                    </a:lnTo>
                    <a:lnTo>
                      <a:pt x="218" y="143"/>
                    </a:lnTo>
                    <a:lnTo>
                      <a:pt x="198" y="154"/>
                    </a:lnTo>
                    <a:lnTo>
                      <a:pt x="176" y="161"/>
                    </a:lnTo>
                    <a:lnTo>
                      <a:pt x="150" y="166"/>
                    </a:lnTo>
                    <a:lnTo>
                      <a:pt x="121" y="167"/>
                    </a:lnTo>
                    <a:lnTo>
                      <a:pt x="93" y="166"/>
                    </a:lnTo>
                    <a:lnTo>
                      <a:pt x="67" y="161"/>
                    </a:lnTo>
                    <a:lnTo>
                      <a:pt x="44" y="154"/>
                    </a:lnTo>
                    <a:lnTo>
                      <a:pt x="26" y="143"/>
                    </a:lnTo>
                    <a:lnTo>
                      <a:pt x="13" y="129"/>
                    </a:lnTo>
                    <a:lnTo>
                      <a:pt x="3" y="113"/>
                    </a:lnTo>
                    <a:lnTo>
                      <a:pt x="0" y="9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2">
                <a:extLst>
                  <a:ext uri="{FF2B5EF4-FFF2-40B4-BE49-F238E27FC236}">
                    <a16:creationId xmlns="" xmlns:a16="http://schemas.microsoft.com/office/drawing/2014/main" id="{96511C7C-9C0E-4881-A3C5-CABA6D1648D7}"/>
                  </a:ext>
                </a:extLst>
              </p:cNvPr>
              <p:cNvSpPr>
                <a:spLocks/>
              </p:cNvSpPr>
              <p:nvPr userDrawn="1"/>
            </p:nvSpPr>
            <p:spPr bwMode="auto">
              <a:xfrm>
                <a:off x="8053388" y="2616200"/>
                <a:ext cx="371475" cy="271463"/>
              </a:xfrm>
              <a:custGeom>
                <a:avLst/>
                <a:gdLst>
                  <a:gd name="T0" fmla="*/ 151 w 234"/>
                  <a:gd name="T1" fmla="*/ 2 h 171"/>
                  <a:gd name="T2" fmla="*/ 201 w 234"/>
                  <a:gd name="T3" fmla="*/ 14 h 171"/>
                  <a:gd name="T4" fmla="*/ 191 w 234"/>
                  <a:gd name="T5" fmla="*/ 44 h 171"/>
                  <a:gd name="T6" fmla="*/ 154 w 234"/>
                  <a:gd name="T7" fmla="*/ 31 h 171"/>
                  <a:gd name="T8" fmla="*/ 120 w 234"/>
                  <a:gd name="T9" fmla="*/ 26 h 171"/>
                  <a:gd name="T10" fmla="*/ 93 w 234"/>
                  <a:gd name="T11" fmla="*/ 28 h 171"/>
                  <a:gd name="T12" fmla="*/ 80 w 234"/>
                  <a:gd name="T13" fmla="*/ 38 h 171"/>
                  <a:gd name="T14" fmla="*/ 91 w 234"/>
                  <a:gd name="T15" fmla="*/ 49 h 171"/>
                  <a:gd name="T16" fmla="*/ 124 w 234"/>
                  <a:gd name="T17" fmla="*/ 56 h 171"/>
                  <a:gd name="T18" fmla="*/ 162 w 234"/>
                  <a:gd name="T19" fmla="*/ 64 h 171"/>
                  <a:gd name="T20" fmla="*/ 197 w 234"/>
                  <a:gd name="T21" fmla="*/ 73 h 171"/>
                  <a:gd name="T22" fmla="*/ 224 w 234"/>
                  <a:gd name="T23" fmla="*/ 89 h 171"/>
                  <a:gd name="T24" fmla="*/ 234 w 234"/>
                  <a:gd name="T25" fmla="*/ 115 h 171"/>
                  <a:gd name="T26" fmla="*/ 222 w 234"/>
                  <a:gd name="T27" fmla="*/ 144 h 171"/>
                  <a:gd name="T28" fmla="*/ 188 w 234"/>
                  <a:gd name="T29" fmla="*/ 162 h 171"/>
                  <a:gd name="T30" fmla="*/ 142 w 234"/>
                  <a:gd name="T31" fmla="*/ 169 h 171"/>
                  <a:gd name="T32" fmla="*/ 82 w 234"/>
                  <a:gd name="T33" fmla="*/ 169 h 171"/>
                  <a:gd name="T34" fmla="*/ 31 w 234"/>
                  <a:gd name="T35" fmla="*/ 156 h 171"/>
                  <a:gd name="T36" fmla="*/ 0 w 234"/>
                  <a:gd name="T37" fmla="*/ 139 h 171"/>
                  <a:gd name="T38" fmla="*/ 49 w 234"/>
                  <a:gd name="T39" fmla="*/ 128 h 171"/>
                  <a:gd name="T40" fmla="*/ 93 w 234"/>
                  <a:gd name="T41" fmla="*/ 144 h 171"/>
                  <a:gd name="T42" fmla="*/ 124 w 234"/>
                  <a:gd name="T43" fmla="*/ 145 h 171"/>
                  <a:gd name="T44" fmla="*/ 145 w 234"/>
                  <a:gd name="T45" fmla="*/ 142 h 171"/>
                  <a:gd name="T46" fmla="*/ 157 w 234"/>
                  <a:gd name="T47" fmla="*/ 133 h 171"/>
                  <a:gd name="T48" fmla="*/ 144 w 234"/>
                  <a:gd name="T49" fmla="*/ 121 h 171"/>
                  <a:gd name="T50" fmla="*/ 111 w 234"/>
                  <a:gd name="T51" fmla="*/ 112 h 171"/>
                  <a:gd name="T52" fmla="*/ 76 w 234"/>
                  <a:gd name="T53" fmla="*/ 106 h 171"/>
                  <a:gd name="T54" fmla="*/ 44 w 234"/>
                  <a:gd name="T55" fmla="*/ 97 h 171"/>
                  <a:gd name="T56" fmla="*/ 17 w 234"/>
                  <a:gd name="T57" fmla="*/ 82 h 171"/>
                  <a:gd name="T58" fmla="*/ 6 w 234"/>
                  <a:gd name="T59" fmla="*/ 56 h 171"/>
                  <a:gd name="T60" fmla="*/ 17 w 234"/>
                  <a:gd name="T61" fmla="*/ 29 h 171"/>
                  <a:gd name="T62" fmla="*/ 46 w 234"/>
                  <a:gd name="T63" fmla="*/ 13 h 171"/>
                  <a:gd name="T64" fmla="*/ 82 w 234"/>
                  <a:gd name="T65" fmla="*/ 3 h 171"/>
                  <a:gd name="T66" fmla="*/ 120 w 234"/>
                  <a:gd name="T6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1">
                    <a:moveTo>
                      <a:pt x="120" y="0"/>
                    </a:moveTo>
                    <a:lnTo>
                      <a:pt x="151" y="2"/>
                    </a:lnTo>
                    <a:lnTo>
                      <a:pt x="179" y="6"/>
                    </a:lnTo>
                    <a:lnTo>
                      <a:pt x="201" y="14"/>
                    </a:lnTo>
                    <a:lnTo>
                      <a:pt x="222" y="26"/>
                    </a:lnTo>
                    <a:lnTo>
                      <a:pt x="191" y="44"/>
                    </a:lnTo>
                    <a:lnTo>
                      <a:pt x="174" y="37"/>
                    </a:lnTo>
                    <a:lnTo>
                      <a:pt x="154" y="31"/>
                    </a:lnTo>
                    <a:lnTo>
                      <a:pt x="136" y="26"/>
                    </a:lnTo>
                    <a:lnTo>
                      <a:pt x="120" y="26"/>
                    </a:lnTo>
                    <a:lnTo>
                      <a:pt x="106" y="26"/>
                    </a:lnTo>
                    <a:lnTo>
                      <a:pt x="93" y="28"/>
                    </a:lnTo>
                    <a:lnTo>
                      <a:pt x="83" y="32"/>
                    </a:lnTo>
                    <a:lnTo>
                      <a:pt x="80" y="38"/>
                    </a:lnTo>
                    <a:lnTo>
                      <a:pt x="82" y="44"/>
                    </a:lnTo>
                    <a:lnTo>
                      <a:pt x="91" y="49"/>
                    </a:lnTo>
                    <a:lnTo>
                      <a:pt x="105" y="52"/>
                    </a:lnTo>
                    <a:lnTo>
                      <a:pt x="124" y="56"/>
                    </a:lnTo>
                    <a:lnTo>
                      <a:pt x="145" y="59"/>
                    </a:lnTo>
                    <a:lnTo>
                      <a:pt x="162" y="64"/>
                    </a:lnTo>
                    <a:lnTo>
                      <a:pt x="180" y="68"/>
                    </a:lnTo>
                    <a:lnTo>
                      <a:pt x="197" y="73"/>
                    </a:lnTo>
                    <a:lnTo>
                      <a:pt x="212" y="80"/>
                    </a:lnTo>
                    <a:lnTo>
                      <a:pt x="224" y="89"/>
                    </a:lnTo>
                    <a:lnTo>
                      <a:pt x="231" y="101"/>
                    </a:lnTo>
                    <a:lnTo>
                      <a:pt x="234" y="115"/>
                    </a:lnTo>
                    <a:lnTo>
                      <a:pt x="231" y="131"/>
                    </a:lnTo>
                    <a:lnTo>
                      <a:pt x="222" y="144"/>
                    </a:lnTo>
                    <a:lnTo>
                      <a:pt x="207" y="154"/>
                    </a:lnTo>
                    <a:lnTo>
                      <a:pt x="188" y="162"/>
                    </a:lnTo>
                    <a:lnTo>
                      <a:pt x="167" y="166"/>
                    </a:lnTo>
                    <a:lnTo>
                      <a:pt x="142" y="169"/>
                    </a:lnTo>
                    <a:lnTo>
                      <a:pt x="117" y="171"/>
                    </a:lnTo>
                    <a:lnTo>
                      <a:pt x="82" y="169"/>
                    </a:lnTo>
                    <a:lnTo>
                      <a:pt x="53" y="163"/>
                    </a:lnTo>
                    <a:lnTo>
                      <a:pt x="31" y="156"/>
                    </a:lnTo>
                    <a:lnTo>
                      <a:pt x="12" y="147"/>
                    </a:lnTo>
                    <a:lnTo>
                      <a:pt x="0" y="139"/>
                    </a:lnTo>
                    <a:lnTo>
                      <a:pt x="34" y="119"/>
                    </a:lnTo>
                    <a:lnTo>
                      <a:pt x="49" y="128"/>
                    </a:lnTo>
                    <a:lnTo>
                      <a:pt x="70" y="138"/>
                    </a:lnTo>
                    <a:lnTo>
                      <a:pt x="93" y="144"/>
                    </a:lnTo>
                    <a:lnTo>
                      <a:pt x="117" y="145"/>
                    </a:lnTo>
                    <a:lnTo>
                      <a:pt x="124" y="145"/>
                    </a:lnTo>
                    <a:lnTo>
                      <a:pt x="136" y="144"/>
                    </a:lnTo>
                    <a:lnTo>
                      <a:pt x="145" y="142"/>
                    </a:lnTo>
                    <a:lnTo>
                      <a:pt x="154" y="139"/>
                    </a:lnTo>
                    <a:lnTo>
                      <a:pt x="157" y="133"/>
                    </a:lnTo>
                    <a:lnTo>
                      <a:pt x="153" y="125"/>
                    </a:lnTo>
                    <a:lnTo>
                      <a:pt x="144" y="121"/>
                    </a:lnTo>
                    <a:lnTo>
                      <a:pt x="129" y="116"/>
                    </a:lnTo>
                    <a:lnTo>
                      <a:pt x="111" y="112"/>
                    </a:lnTo>
                    <a:lnTo>
                      <a:pt x="91" y="109"/>
                    </a:lnTo>
                    <a:lnTo>
                      <a:pt x="76" y="106"/>
                    </a:lnTo>
                    <a:lnTo>
                      <a:pt x="61" y="101"/>
                    </a:lnTo>
                    <a:lnTo>
                      <a:pt x="44" y="97"/>
                    </a:lnTo>
                    <a:lnTo>
                      <a:pt x="29" y="91"/>
                    </a:lnTo>
                    <a:lnTo>
                      <a:pt x="17" y="82"/>
                    </a:lnTo>
                    <a:lnTo>
                      <a:pt x="9" y="71"/>
                    </a:lnTo>
                    <a:lnTo>
                      <a:pt x="6" y="56"/>
                    </a:lnTo>
                    <a:lnTo>
                      <a:pt x="9" y="41"/>
                    </a:lnTo>
                    <a:lnTo>
                      <a:pt x="17" y="29"/>
                    </a:lnTo>
                    <a:lnTo>
                      <a:pt x="29" y="19"/>
                    </a:lnTo>
                    <a:lnTo>
                      <a:pt x="46" y="13"/>
                    </a:lnTo>
                    <a:lnTo>
                      <a:pt x="64" y="6"/>
                    </a:lnTo>
                    <a:lnTo>
                      <a:pt x="82" y="3"/>
                    </a:lnTo>
                    <a:lnTo>
                      <a:pt x="102" y="0"/>
                    </a:lnTo>
                    <a:lnTo>
                      <a:pt x="12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3">
                <a:extLst>
                  <a:ext uri="{FF2B5EF4-FFF2-40B4-BE49-F238E27FC236}">
                    <a16:creationId xmlns="" xmlns:a16="http://schemas.microsoft.com/office/drawing/2014/main" id="{0AEDD3C7-9C17-4AA6-B546-22E2731FB4BB}"/>
                  </a:ext>
                </a:extLst>
              </p:cNvPr>
              <p:cNvSpPr>
                <a:spLocks/>
              </p:cNvSpPr>
              <p:nvPr userDrawn="1"/>
            </p:nvSpPr>
            <p:spPr bwMode="auto">
              <a:xfrm>
                <a:off x="8456613" y="2624138"/>
                <a:ext cx="352425" cy="255588"/>
              </a:xfrm>
              <a:custGeom>
                <a:avLst/>
                <a:gdLst>
                  <a:gd name="T0" fmla="*/ 15 w 222"/>
                  <a:gd name="T1" fmla="*/ 0 h 161"/>
                  <a:gd name="T2" fmla="*/ 207 w 222"/>
                  <a:gd name="T3" fmla="*/ 0 h 161"/>
                  <a:gd name="T4" fmla="*/ 222 w 222"/>
                  <a:gd name="T5" fmla="*/ 24 h 161"/>
                  <a:gd name="T6" fmla="*/ 222 w 222"/>
                  <a:gd name="T7" fmla="*/ 27 h 161"/>
                  <a:gd name="T8" fmla="*/ 153 w 222"/>
                  <a:gd name="T9" fmla="*/ 27 h 161"/>
                  <a:gd name="T10" fmla="*/ 153 w 222"/>
                  <a:gd name="T11" fmla="*/ 161 h 161"/>
                  <a:gd name="T12" fmla="*/ 68 w 222"/>
                  <a:gd name="T13" fmla="*/ 161 h 161"/>
                  <a:gd name="T14" fmla="*/ 68 w 222"/>
                  <a:gd name="T15" fmla="*/ 27 h 161"/>
                  <a:gd name="T16" fmla="*/ 0 w 222"/>
                  <a:gd name="T17" fmla="*/ 27 h 161"/>
                  <a:gd name="T18" fmla="*/ 0 w 222"/>
                  <a:gd name="T19" fmla="*/ 24 h 161"/>
                  <a:gd name="T20" fmla="*/ 15 w 222"/>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161">
                    <a:moveTo>
                      <a:pt x="15" y="0"/>
                    </a:moveTo>
                    <a:lnTo>
                      <a:pt x="207" y="0"/>
                    </a:lnTo>
                    <a:lnTo>
                      <a:pt x="222" y="24"/>
                    </a:lnTo>
                    <a:lnTo>
                      <a:pt x="222" y="27"/>
                    </a:lnTo>
                    <a:lnTo>
                      <a:pt x="153" y="27"/>
                    </a:lnTo>
                    <a:lnTo>
                      <a:pt x="153" y="161"/>
                    </a:lnTo>
                    <a:lnTo>
                      <a:pt x="68" y="161"/>
                    </a:lnTo>
                    <a:lnTo>
                      <a:pt x="68" y="27"/>
                    </a:lnTo>
                    <a:lnTo>
                      <a:pt x="0" y="27"/>
                    </a:lnTo>
                    <a:lnTo>
                      <a:pt x="0" y="24"/>
                    </a:lnTo>
                    <a:lnTo>
                      <a:pt x="15"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Rectangle 24">
                <a:extLst>
                  <a:ext uri="{FF2B5EF4-FFF2-40B4-BE49-F238E27FC236}">
                    <a16:creationId xmlns="" xmlns:a16="http://schemas.microsoft.com/office/drawing/2014/main" id="{338B22BE-53A0-4960-B36F-D6694962E2D0}"/>
                  </a:ext>
                </a:extLst>
              </p:cNvPr>
              <p:cNvSpPr>
                <a:spLocks noChangeArrowheads="1"/>
              </p:cNvSpPr>
              <p:nvPr userDrawn="1"/>
            </p:nvSpPr>
            <p:spPr bwMode="auto">
              <a:xfrm>
                <a:off x="8875713" y="2624138"/>
                <a:ext cx="131763" cy="255588"/>
              </a:xfrm>
              <a:prstGeom prst="rect">
                <a:avLst/>
              </a:prstGeom>
              <a:solidFill>
                <a:srgbClr val="231F2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5">
                <a:extLst>
                  <a:ext uri="{FF2B5EF4-FFF2-40B4-BE49-F238E27FC236}">
                    <a16:creationId xmlns="" xmlns:a16="http://schemas.microsoft.com/office/drawing/2014/main" id="{86BC25C0-CDC4-4736-9707-D9A22E1790F5}"/>
                  </a:ext>
                </a:extLst>
              </p:cNvPr>
              <p:cNvSpPr>
                <a:spLocks/>
              </p:cNvSpPr>
              <p:nvPr userDrawn="1"/>
            </p:nvSpPr>
            <p:spPr bwMode="auto">
              <a:xfrm>
                <a:off x="9101138" y="2624138"/>
                <a:ext cx="398463" cy="255588"/>
              </a:xfrm>
              <a:custGeom>
                <a:avLst/>
                <a:gdLst>
                  <a:gd name="T0" fmla="*/ 0 w 251"/>
                  <a:gd name="T1" fmla="*/ 0 h 161"/>
                  <a:gd name="T2" fmla="*/ 47 w 251"/>
                  <a:gd name="T3" fmla="*/ 0 h 161"/>
                  <a:gd name="T4" fmla="*/ 198 w 251"/>
                  <a:gd name="T5" fmla="*/ 86 h 161"/>
                  <a:gd name="T6" fmla="*/ 198 w 251"/>
                  <a:gd name="T7" fmla="*/ 0 h 161"/>
                  <a:gd name="T8" fmla="*/ 251 w 251"/>
                  <a:gd name="T9" fmla="*/ 0 h 161"/>
                  <a:gd name="T10" fmla="*/ 251 w 251"/>
                  <a:gd name="T11" fmla="*/ 161 h 161"/>
                  <a:gd name="T12" fmla="*/ 200 w 251"/>
                  <a:gd name="T13" fmla="*/ 161 h 161"/>
                  <a:gd name="T14" fmla="*/ 53 w 251"/>
                  <a:gd name="T15" fmla="*/ 78 h 161"/>
                  <a:gd name="T16" fmla="*/ 53 w 251"/>
                  <a:gd name="T17" fmla="*/ 161 h 161"/>
                  <a:gd name="T18" fmla="*/ 0 w 251"/>
                  <a:gd name="T19" fmla="*/ 161 h 161"/>
                  <a:gd name="T20" fmla="*/ 0 w 251"/>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1">
                    <a:moveTo>
                      <a:pt x="0" y="0"/>
                    </a:moveTo>
                    <a:lnTo>
                      <a:pt x="47" y="0"/>
                    </a:lnTo>
                    <a:lnTo>
                      <a:pt x="198" y="86"/>
                    </a:lnTo>
                    <a:lnTo>
                      <a:pt x="198" y="0"/>
                    </a:lnTo>
                    <a:lnTo>
                      <a:pt x="251" y="0"/>
                    </a:lnTo>
                    <a:lnTo>
                      <a:pt x="251" y="161"/>
                    </a:lnTo>
                    <a:lnTo>
                      <a:pt x="200" y="161"/>
                    </a:lnTo>
                    <a:lnTo>
                      <a:pt x="53" y="78"/>
                    </a:lnTo>
                    <a:lnTo>
                      <a:pt x="53" y="161"/>
                    </a:lnTo>
                    <a:lnTo>
                      <a:pt x="0" y="161"/>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6">
                <a:extLst>
                  <a:ext uri="{FF2B5EF4-FFF2-40B4-BE49-F238E27FC236}">
                    <a16:creationId xmlns="" xmlns:a16="http://schemas.microsoft.com/office/drawing/2014/main" id="{4BD8852B-0A57-444F-9A4E-38AF4FB3E40B}"/>
                  </a:ext>
                </a:extLst>
              </p:cNvPr>
              <p:cNvSpPr>
                <a:spLocks noEditPoints="1"/>
              </p:cNvSpPr>
              <p:nvPr userDrawn="1"/>
            </p:nvSpPr>
            <p:spPr bwMode="auto">
              <a:xfrm>
                <a:off x="7116763" y="2601913"/>
                <a:ext cx="423863" cy="254000"/>
              </a:xfrm>
              <a:custGeom>
                <a:avLst/>
                <a:gdLst>
                  <a:gd name="T0" fmla="*/ 118 w 267"/>
                  <a:gd name="T1" fmla="*/ 46 h 160"/>
                  <a:gd name="T2" fmla="*/ 84 w 267"/>
                  <a:gd name="T3" fmla="*/ 106 h 160"/>
                  <a:gd name="T4" fmla="*/ 148 w 267"/>
                  <a:gd name="T5" fmla="*/ 106 h 160"/>
                  <a:gd name="T6" fmla="*/ 118 w 267"/>
                  <a:gd name="T7" fmla="*/ 46 h 160"/>
                  <a:gd name="T8" fmla="*/ 95 w 267"/>
                  <a:gd name="T9" fmla="*/ 0 h 160"/>
                  <a:gd name="T10" fmla="*/ 180 w 267"/>
                  <a:gd name="T11" fmla="*/ 0 h 160"/>
                  <a:gd name="T12" fmla="*/ 267 w 267"/>
                  <a:gd name="T13" fmla="*/ 159 h 160"/>
                  <a:gd name="T14" fmla="*/ 267 w 267"/>
                  <a:gd name="T15" fmla="*/ 160 h 160"/>
                  <a:gd name="T16" fmla="*/ 177 w 267"/>
                  <a:gd name="T17" fmla="*/ 160 h 160"/>
                  <a:gd name="T18" fmla="*/ 161 w 267"/>
                  <a:gd name="T19" fmla="*/ 131 h 160"/>
                  <a:gd name="T20" fmla="*/ 72 w 267"/>
                  <a:gd name="T21" fmla="*/ 131 h 160"/>
                  <a:gd name="T22" fmla="*/ 57 w 267"/>
                  <a:gd name="T23" fmla="*/ 160 h 160"/>
                  <a:gd name="T24" fmla="*/ 0 w 267"/>
                  <a:gd name="T25" fmla="*/ 160 h 160"/>
                  <a:gd name="T26" fmla="*/ 0 w 267"/>
                  <a:gd name="T27" fmla="*/ 159 h 160"/>
                  <a:gd name="T28" fmla="*/ 95 w 267"/>
                  <a:gd name="T2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7" h="160">
                    <a:moveTo>
                      <a:pt x="118" y="46"/>
                    </a:moveTo>
                    <a:lnTo>
                      <a:pt x="84" y="106"/>
                    </a:lnTo>
                    <a:lnTo>
                      <a:pt x="148" y="106"/>
                    </a:lnTo>
                    <a:lnTo>
                      <a:pt x="118" y="46"/>
                    </a:lnTo>
                    <a:close/>
                    <a:moveTo>
                      <a:pt x="95" y="0"/>
                    </a:moveTo>
                    <a:lnTo>
                      <a:pt x="180" y="0"/>
                    </a:lnTo>
                    <a:lnTo>
                      <a:pt x="267" y="159"/>
                    </a:lnTo>
                    <a:lnTo>
                      <a:pt x="267" y="160"/>
                    </a:lnTo>
                    <a:lnTo>
                      <a:pt x="177" y="160"/>
                    </a:lnTo>
                    <a:lnTo>
                      <a:pt x="161" y="131"/>
                    </a:lnTo>
                    <a:lnTo>
                      <a:pt x="72" y="131"/>
                    </a:lnTo>
                    <a:lnTo>
                      <a:pt x="57" y="160"/>
                    </a:lnTo>
                    <a:lnTo>
                      <a:pt x="0" y="160"/>
                    </a:lnTo>
                    <a:lnTo>
                      <a:pt x="0" y="159"/>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
                <a:extLst>
                  <a:ext uri="{FF2B5EF4-FFF2-40B4-BE49-F238E27FC236}">
                    <a16:creationId xmlns="" xmlns:a16="http://schemas.microsoft.com/office/drawing/2014/main" id="{F2A21440-A089-490A-A15F-AE18510E32D5}"/>
                  </a:ext>
                </a:extLst>
              </p:cNvPr>
              <p:cNvSpPr>
                <a:spLocks/>
              </p:cNvSpPr>
              <p:nvPr userDrawn="1"/>
            </p:nvSpPr>
            <p:spPr bwMode="auto">
              <a:xfrm>
                <a:off x="7577138" y="2601913"/>
                <a:ext cx="385763" cy="266700"/>
              </a:xfrm>
              <a:custGeom>
                <a:avLst/>
                <a:gdLst>
                  <a:gd name="T0" fmla="*/ 0 w 243"/>
                  <a:gd name="T1" fmla="*/ 0 h 168"/>
                  <a:gd name="T2" fmla="*/ 83 w 243"/>
                  <a:gd name="T3" fmla="*/ 0 h 168"/>
                  <a:gd name="T4" fmla="*/ 83 w 243"/>
                  <a:gd name="T5" fmla="*/ 6 h 168"/>
                  <a:gd name="T6" fmla="*/ 83 w 243"/>
                  <a:gd name="T7" fmla="*/ 19 h 168"/>
                  <a:gd name="T8" fmla="*/ 83 w 243"/>
                  <a:gd name="T9" fmla="*/ 59 h 168"/>
                  <a:gd name="T10" fmla="*/ 83 w 243"/>
                  <a:gd name="T11" fmla="*/ 80 h 168"/>
                  <a:gd name="T12" fmla="*/ 83 w 243"/>
                  <a:gd name="T13" fmla="*/ 109 h 168"/>
                  <a:gd name="T14" fmla="*/ 84 w 243"/>
                  <a:gd name="T15" fmla="*/ 119 h 168"/>
                  <a:gd name="T16" fmla="*/ 87 w 243"/>
                  <a:gd name="T17" fmla="*/ 127 h 168"/>
                  <a:gd name="T18" fmla="*/ 95 w 243"/>
                  <a:gd name="T19" fmla="*/ 134 h 168"/>
                  <a:gd name="T20" fmla="*/ 106 w 243"/>
                  <a:gd name="T21" fmla="*/ 139 h 168"/>
                  <a:gd name="T22" fmla="*/ 121 w 243"/>
                  <a:gd name="T23" fmla="*/ 140 h 168"/>
                  <a:gd name="T24" fmla="*/ 136 w 243"/>
                  <a:gd name="T25" fmla="*/ 139 h 168"/>
                  <a:gd name="T26" fmla="*/ 148 w 243"/>
                  <a:gd name="T27" fmla="*/ 134 h 168"/>
                  <a:gd name="T28" fmla="*/ 154 w 243"/>
                  <a:gd name="T29" fmla="*/ 127 h 168"/>
                  <a:gd name="T30" fmla="*/ 158 w 243"/>
                  <a:gd name="T31" fmla="*/ 119 h 168"/>
                  <a:gd name="T32" fmla="*/ 160 w 243"/>
                  <a:gd name="T33" fmla="*/ 109 h 168"/>
                  <a:gd name="T34" fmla="*/ 160 w 243"/>
                  <a:gd name="T35" fmla="*/ 59 h 168"/>
                  <a:gd name="T36" fmla="*/ 160 w 243"/>
                  <a:gd name="T37" fmla="*/ 38 h 168"/>
                  <a:gd name="T38" fmla="*/ 160 w 243"/>
                  <a:gd name="T39" fmla="*/ 6 h 168"/>
                  <a:gd name="T40" fmla="*/ 160 w 243"/>
                  <a:gd name="T41" fmla="*/ 0 h 168"/>
                  <a:gd name="T42" fmla="*/ 243 w 243"/>
                  <a:gd name="T43" fmla="*/ 0 h 168"/>
                  <a:gd name="T44" fmla="*/ 243 w 243"/>
                  <a:gd name="T45" fmla="*/ 6 h 168"/>
                  <a:gd name="T46" fmla="*/ 243 w 243"/>
                  <a:gd name="T47" fmla="*/ 20 h 168"/>
                  <a:gd name="T48" fmla="*/ 243 w 243"/>
                  <a:gd name="T49" fmla="*/ 38 h 168"/>
                  <a:gd name="T50" fmla="*/ 243 w 243"/>
                  <a:gd name="T51" fmla="*/ 59 h 168"/>
                  <a:gd name="T52" fmla="*/ 243 w 243"/>
                  <a:gd name="T53" fmla="*/ 79 h 168"/>
                  <a:gd name="T54" fmla="*/ 243 w 243"/>
                  <a:gd name="T55" fmla="*/ 94 h 168"/>
                  <a:gd name="T56" fmla="*/ 240 w 243"/>
                  <a:gd name="T57" fmla="*/ 113 h 168"/>
                  <a:gd name="T58" fmla="*/ 231 w 243"/>
                  <a:gd name="T59" fmla="*/ 130 h 168"/>
                  <a:gd name="T60" fmla="*/ 217 w 243"/>
                  <a:gd name="T61" fmla="*/ 143 h 168"/>
                  <a:gd name="T62" fmla="*/ 198 w 243"/>
                  <a:gd name="T63" fmla="*/ 154 h 168"/>
                  <a:gd name="T64" fmla="*/ 175 w 243"/>
                  <a:gd name="T65" fmla="*/ 162 h 168"/>
                  <a:gd name="T66" fmla="*/ 149 w 243"/>
                  <a:gd name="T67" fmla="*/ 166 h 168"/>
                  <a:gd name="T68" fmla="*/ 121 w 243"/>
                  <a:gd name="T69" fmla="*/ 168 h 168"/>
                  <a:gd name="T70" fmla="*/ 92 w 243"/>
                  <a:gd name="T71" fmla="*/ 166 h 168"/>
                  <a:gd name="T72" fmla="*/ 66 w 243"/>
                  <a:gd name="T73" fmla="*/ 162 h 168"/>
                  <a:gd name="T74" fmla="*/ 44 w 243"/>
                  <a:gd name="T75" fmla="*/ 154 h 168"/>
                  <a:gd name="T76" fmla="*/ 26 w 243"/>
                  <a:gd name="T77" fmla="*/ 143 h 168"/>
                  <a:gd name="T78" fmla="*/ 12 w 243"/>
                  <a:gd name="T79" fmla="*/ 130 h 168"/>
                  <a:gd name="T80" fmla="*/ 3 w 243"/>
                  <a:gd name="T81" fmla="*/ 113 h 168"/>
                  <a:gd name="T82" fmla="*/ 0 w 243"/>
                  <a:gd name="T83" fmla="*/ 94 h 168"/>
                  <a:gd name="T84" fmla="*/ 0 w 243"/>
                  <a:gd name="T8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168">
                    <a:moveTo>
                      <a:pt x="0" y="0"/>
                    </a:moveTo>
                    <a:lnTo>
                      <a:pt x="83" y="0"/>
                    </a:lnTo>
                    <a:lnTo>
                      <a:pt x="83" y="6"/>
                    </a:lnTo>
                    <a:lnTo>
                      <a:pt x="83" y="19"/>
                    </a:lnTo>
                    <a:lnTo>
                      <a:pt x="83" y="59"/>
                    </a:lnTo>
                    <a:lnTo>
                      <a:pt x="83" y="80"/>
                    </a:lnTo>
                    <a:lnTo>
                      <a:pt x="83" y="109"/>
                    </a:lnTo>
                    <a:lnTo>
                      <a:pt x="84" y="119"/>
                    </a:lnTo>
                    <a:lnTo>
                      <a:pt x="87" y="127"/>
                    </a:lnTo>
                    <a:lnTo>
                      <a:pt x="95" y="134"/>
                    </a:lnTo>
                    <a:lnTo>
                      <a:pt x="106" y="139"/>
                    </a:lnTo>
                    <a:lnTo>
                      <a:pt x="121" y="140"/>
                    </a:lnTo>
                    <a:lnTo>
                      <a:pt x="136" y="139"/>
                    </a:lnTo>
                    <a:lnTo>
                      <a:pt x="148" y="134"/>
                    </a:lnTo>
                    <a:lnTo>
                      <a:pt x="154" y="127"/>
                    </a:lnTo>
                    <a:lnTo>
                      <a:pt x="158" y="119"/>
                    </a:lnTo>
                    <a:lnTo>
                      <a:pt x="160" y="109"/>
                    </a:lnTo>
                    <a:lnTo>
                      <a:pt x="160" y="59"/>
                    </a:lnTo>
                    <a:lnTo>
                      <a:pt x="160" y="38"/>
                    </a:lnTo>
                    <a:lnTo>
                      <a:pt x="160" y="6"/>
                    </a:lnTo>
                    <a:lnTo>
                      <a:pt x="160" y="0"/>
                    </a:lnTo>
                    <a:lnTo>
                      <a:pt x="243" y="0"/>
                    </a:lnTo>
                    <a:lnTo>
                      <a:pt x="243" y="6"/>
                    </a:lnTo>
                    <a:lnTo>
                      <a:pt x="243" y="20"/>
                    </a:lnTo>
                    <a:lnTo>
                      <a:pt x="243" y="38"/>
                    </a:lnTo>
                    <a:lnTo>
                      <a:pt x="243" y="59"/>
                    </a:lnTo>
                    <a:lnTo>
                      <a:pt x="243" y="79"/>
                    </a:lnTo>
                    <a:lnTo>
                      <a:pt x="243" y="94"/>
                    </a:lnTo>
                    <a:lnTo>
                      <a:pt x="240" y="113"/>
                    </a:lnTo>
                    <a:lnTo>
                      <a:pt x="231" y="130"/>
                    </a:lnTo>
                    <a:lnTo>
                      <a:pt x="217" y="143"/>
                    </a:lnTo>
                    <a:lnTo>
                      <a:pt x="198" y="154"/>
                    </a:lnTo>
                    <a:lnTo>
                      <a:pt x="175" y="162"/>
                    </a:lnTo>
                    <a:lnTo>
                      <a:pt x="149" y="166"/>
                    </a:lnTo>
                    <a:lnTo>
                      <a:pt x="121" y="168"/>
                    </a:lnTo>
                    <a:lnTo>
                      <a:pt x="92" y="166"/>
                    </a:lnTo>
                    <a:lnTo>
                      <a:pt x="66" y="162"/>
                    </a:lnTo>
                    <a:lnTo>
                      <a:pt x="44" y="154"/>
                    </a:lnTo>
                    <a:lnTo>
                      <a:pt x="26" y="143"/>
                    </a:lnTo>
                    <a:lnTo>
                      <a:pt x="12" y="130"/>
                    </a:lnTo>
                    <a:lnTo>
                      <a:pt x="3" y="113"/>
                    </a:lnTo>
                    <a:lnTo>
                      <a:pt x="0" y="9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8">
                <a:extLst>
                  <a:ext uri="{FF2B5EF4-FFF2-40B4-BE49-F238E27FC236}">
                    <a16:creationId xmlns="" xmlns:a16="http://schemas.microsoft.com/office/drawing/2014/main" id="{510F904C-B000-4A21-8C23-B64C55DAAF1F}"/>
                  </a:ext>
                </a:extLst>
              </p:cNvPr>
              <p:cNvSpPr>
                <a:spLocks/>
              </p:cNvSpPr>
              <p:nvPr userDrawn="1"/>
            </p:nvSpPr>
            <p:spPr bwMode="auto">
              <a:xfrm>
                <a:off x="8032750" y="2595563"/>
                <a:ext cx="371475" cy="269875"/>
              </a:xfrm>
              <a:custGeom>
                <a:avLst/>
                <a:gdLst>
                  <a:gd name="T0" fmla="*/ 149 w 234"/>
                  <a:gd name="T1" fmla="*/ 1 h 170"/>
                  <a:gd name="T2" fmla="*/ 201 w 234"/>
                  <a:gd name="T3" fmla="*/ 13 h 170"/>
                  <a:gd name="T4" fmla="*/ 190 w 234"/>
                  <a:gd name="T5" fmla="*/ 44 h 170"/>
                  <a:gd name="T6" fmla="*/ 154 w 234"/>
                  <a:gd name="T7" fmla="*/ 30 h 170"/>
                  <a:gd name="T8" fmla="*/ 119 w 234"/>
                  <a:gd name="T9" fmla="*/ 26 h 170"/>
                  <a:gd name="T10" fmla="*/ 92 w 234"/>
                  <a:gd name="T11" fmla="*/ 27 h 170"/>
                  <a:gd name="T12" fmla="*/ 78 w 234"/>
                  <a:gd name="T13" fmla="*/ 38 h 170"/>
                  <a:gd name="T14" fmla="*/ 90 w 234"/>
                  <a:gd name="T15" fmla="*/ 48 h 170"/>
                  <a:gd name="T16" fmla="*/ 122 w 234"/>
                  <a:gd name="T17" fmla="*/ 56 h 170"/>
                  <a:gd name="T18" fmla="*/ 161 w 234"/>
                  <a:gd name="T19" fmla="*/ 63 h 170"/>
                  <a:gd name="T20" fmla="*/ 196 w 234"/>
                  <a:gd name="T21" fmla="*/ 72 h 170"/>
                  <a:gd name="T22" fmla="*/ 223 w 234"/>
                  <a:gd name="T23" fmla="*/ 89 h 170"/>
                  <a:gd name="T24" fmla="*/ 234 w 234"/>
                  <a:gd name="T25" fmla="*/ 114 h 170"/>
                  <a:gd name="T26" fmla="*/ 222 w 234"/>
                  <a:gd name="T27" fmla="*/ 143 h 170"/>
                  <a:gd name="T28" fmla="*/ 187 w 234"/>
                  <a:gd name="T29" fmla="*/ 161 h 170"/>
                  <a:gd name="T30" fmla="*/ 140 w 234"/>
                  <a:gd name="T31" fmla="*/ 169 h 170"/>
                  <a:gd name="T32" fmla="*/ 81 w 234"/>
                  <a:gd name="T33" fmla="*/ 169 h 170"/>
                  <a:gd name="T34" fmla="*/ 30 w 234"/>
                  <a:gd name="T35" fmla="*/ 155 h 170"/>
                  <a:gd name="T36" fmla="*/ 0 w 234"/>
                  <a:gd name="T37" fmla="*/ 138 h 170"/>
                  <a:gd name="T38" fmla="*/ 48 w 234"/>
                  <a:gd name="T39" fmla="*/ 128 h 170"/>
                  <a:gd name="T40" fmla="*/ 92 w 234"/>
                  <a:gd name="T41" fmla="*/ 141 h 170"/>
                  <a:gd name="T42" fmla="*/ 124 w 234"/>
                  <a:gd name="T43" fmla="*/ 144 h 170"/>
                  <a:gd name="T44" fmla="*/ 145 w 234"/>
                  <a:gd name="T45" fmla="*/ 141 h 170"/>
                  <a:gd name="T46" fmla="*/ 155 w 234"/>
                  <a:gd name="T47" fmla="*/ 132 h 170"/>
                  <a:gd name="T48" fmla="*/ 142 w 234"/>
                  <a:gd name="T49" fmla="*/ 120 h 170"/>
                  <a:gd name="T50" fmla="*/ 110 w 234"/>
                  <a:gd name="T51" fmla="*/ 111 h 170"/>
                  <a:gd name="T52" fmla="*/ 75 w 234"/>
                  <a:gd name="T53" fmla="*/ 105 h 170"/>
                  <a:gd name="T54" fmla="*/ 44 w 234"/>
                  <a:gd name="T55" fmla="*/ 96 h 170"/>
                  <a:gd name="T56" fmla="*/ 16 w 234"/>
                  <a:gd name="T57" fmla="*/ 81 h 170"/>
                  <a:gd name="T58" fmla="*/ 4 w 234"/>
                  <a:gd name="T59" fmla="*/ 56 h 170"/>
                  <a:gd name="T60" fmla="*/ 16 w 234"/>
                  <a:gd name="T61" fmla="*/ 29 h 170"/>
                  <a:gd name="T62" fmla="*/ 45 w 234"/>
                  <a:gd name="T63" fmla="*/ 10 h 170"/>
                  <a:gd name="T64" fmla="*/ 81 w 234"/>
                  <a:gd name="T65" fmla="*/ 3 h 170"/>
                  <a:gd name="T66" fmla="*/ 118 w 234"/>
                  <a:gd name="T6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0">
                    <a:moveTo>
                      <a:pt x="118" y="0"/>
                    </a:moveTo>
                    <a:lnTo>
                      <a:pt x="149" y="1"/>
                    </a:lnTo>
                    <a:lnTo>
                      <a:pt x="176" y="6"/>
                    </a:lnTo>
                    <a:lnTo>
                      <a:pt x="201" y="13"/>
                    </a:lnTo>
                    <a:lnTo>
                      <a:pt x="222" y="26"/>
                    </a:lnTo>
                    <a:lnTo>
                      <a:pt x="190" y="44"/>
                    </a:lnTo>
                    <a:lnTo>
                      <a:pt x="173" y="36"/>
                    </a:lnTo>
                    <a:lnTo>
                      <a:pt x="154" y="30"/>
                    </a:lnTo>
                    <a:lnTo>
                      <a:pt x="136" y="26"/>
                    </a:lnTo>
                    <a:lnTo>
                      <a:pt x="119" y="26"/>
                    </a:lnTo>
                    <a:lnTo>
                      <a:pt x="106" y="26"/>
                    </a:lnTo>
                    <a:lnTo>
                      <a:pt x="92" y="27"/>
                    </a:lnTo>
                    <a:lnTo>
                      <a:pt x="83" y="32"/>
                    </a:lnTo>
                    <a:lnTo>
                      <a:pt x="78" y="38"/>
                    </a:lnTo>
                    <a:lnTo>
                      <a:pt x="81" y="44"/>
                    </a:lnTo>
                    <a:lnTo>
                      <a:pt x="90" y="48"/>
                    </a:lnTo>
                    <a:lnTo>
                      <a:pt x="104" y="51"/>
                    </a:lnTo>
                    <a:lnTo>
                      <a:pt x="122" y="56"/>
                    </a:lnTo>
                    <a:lnTo>
                      <a:pt x="145" y="59"/>
                    </a:lnTo>
                    <a:lnTo>
                      <a:pt x="161" y="63"/>
                    </a:lnTo>
                    <a:lnTo>
                      <a:pt x="180" y="68"/>
                    </a:lnTo>
                    <a:lnTo>
                      <a:pt x="196" y="72"/>
                    </a:lnTo>
                    <a:lnTo>
                      <a:pt x="211" y="80"/>
                    </a:lnTo>
                    <a:lnTo>
                      <a:pt x="223" y="89"/>
                    </a:lnTo>
                    <a:lnTo>
                      <a:pt x="231" y="101"/>
                    </a:lnTo>
                    <a:lnTo>
                      <a:pt x="234" y="114"/>
                    </a:lnTo>
                    <a:lnTo>
                      <a:pt x="231" y="129"/>
                    </a:lnTo>
                    <a:lnTo>
                      <a:pt x="222" y="143"/>
                    </a:lnTo>
                    <a:lnTo>
                      <a:pt x="207" y="154"/>
                    </a:lnTo>
                    <a:lnTo>
                      <a:pt x="187" y="161"/>
                    </a:lnTo>
                    <a:lnTo>
                      <a:pt x="166" y="166"/>
                    </a:lnTo>
                    <a:lnTo>
                      <a:pt x="140" y="169"/>
                    </a:lnTo>
                    <a:lnTo>
                      <a:pt x="115" y="170"/>
                    </a:lnTo>
                    <a:lnTo>
                      <a:pt x="81" y="169"/>
                    </a:lnTo>
                    <a:lnTo>
                      <a:pt x="53" y="163"/>
                    </a:lnTo>
                    <a:lnTo>
                      <a:pt x="30" y="155"/>
                    </a:lnTo>
                    <a:lnTo>
                      <a:pt x="12" y="146"/>
                    </a:lnTo>
                    <a:lnTo>
                      <a:pt x="0" y="138"/>
                    </a:lnTo>
                    <a:lnTo>
                      <a:pt x="33" y="119"/>
                    </a:lnTo>
                    <a:lnTo>
                      <a:pt x="48" y="128"/>
                    </a:lnTo>
                    <a:lnTo>
                      <a:pt x="69" y="135"/>
                    </a:lnTo>
                    <a:lnTo>
                      <a:pt x="92" y="141"/>
                    </a:lnTo>
                    <a:lnTo>
                      <a:pt x="115" y="144"/>
                    </a:lnTo>
                    <a:lnTo>
                      <a:pt x="124" y="144"/>
                    </a:lnTo>
                    <a:lnTo>
                      <a:pt x="134" y="143"/>
                    </a:lnTo>
                    <a:lnTo>
                      <a:pt x="145" y="141"/>
                    </a:lnTo>
                    <a:lnTo>
                      <a:pt x="152" y="138"/>
                    </a:lnTo>
                    <a:lnTo>
                      <a:pt x="155" y="132"/>
                    </a:lnTo>
                    <a:lnTo>
                      <a:pt x="152" y="125"/>
                    </a:lnTo>
                    <a:lnTo>
                      <a:pt x="142" y="120"/>
                    </a:lnTo>
                    <a:lnTo>
                      <a:pt x="128" y="116"/>
                    </a:lnTo>
                    <a:lnTo>
                      <a:pt x="110" y="111"/>
                    </a:lnTo>
                    <a:lnTo>
                      <a:pt x="90" y="108"/>
                    </a:lnTo>
                    <a:lnTo>
                      <a:pt x="75" y="105"/>
                    </a:lnTo>
                    <a:lnTo>
                      <a:pt x="60" y="101"/>
                    </a:lnTo>
                    <a:lnTo>
                      <a:pt x="44" y="96"/>
                    </a:lnTo>
                    <a:lnTo>
                      <a:pt x="28" y="90"/>
                    </a:lnTo>
                    <a:lnTo>
                      <a:pt x="16" y="81"/>
                    </a:lnTo>
                    <a:lnTo>
                      <a:pt x="9" y="69"/>
                    </a:lnTo>
                    <a:lnTo>
                      <a:pt x="4" y="56"/>
                    </a:lnTo>
                    <a:lnTo>
                      <a:pt x="7" y="41"/>
                    </a:lnTo>
                    <a:lnTo>
                      <a:pt x="16" y="29"/>
                    </a:lnTo>
                    <a:lnTo>
                      <a:pt x="28" y="18"/>
                    </a:lnTo>
                    <a:lnTo>
                      <a:pt x="45" y="10"/>
                    </a:lnTo>
                    <a:lnTo>
                      <a:pt x="62" y="6"/>
                    </a:lnTo>
                    <a:lnTo>
                      <a:pt x="81" y="3"/>
                    </a:lnTo>
                    <a:lnTo>
                      <a:pt x="101" y="0"/>
                    </a:lnTo>
                    <a:lnTo>
                      <a:pt x="11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9">
                <a:extLst>
                  <a:ext uri="{FF2B5EF4-FFF2-40B4-BE49-F238E27FC236}">
                    <a16:creationId xmlns="" xmlns:a16="http://schemas.microsoft.com/office/drawing/2014/main" id="{56FD33D9-8FB7-4652-8779-F43F528572BC}"/>
                  </a:ext>
                </a:extLst>
              </p:cNvPr>
              <p:cNvSpPr>
                <a:spLocks/>
              </p:cNvSpPr>
              <p:nvPr userDrawn="1"/>
            </p:nvSpPr>
            <p:spPr bwMode="auto">
              <a:xfrm>
                <a:off x="8432800" y="2601913"/>
                <a:ext cx="355600" cy="254000"/>
              </a:xfrm>
              <a:custGeom>
                <a:avLst/>
                <a:gdLst>
                  <a:gd name="T0" fmla="*/ 17 w 224"/>
                  <a:gd name="T1" fmla="*/ 0 h 160"/>
                  <a:gd name="T2" fmla="*/ 208 w 224"/>
                  <a:gd name="T3" fmla="*/ 0 h 160"/>
                  <a:gd name="T4" fmla="*/ 224 w 224"/>
                  <a:gd name="T5" fmla="*/ 25 h 160"/>
                  <a:gd name="T6" fmla="*/ 224 w 224"/>
                  <a:gd name="T7" fmla="*/ 28 h 160"/>
                  <a:gd name="T8" fmla="*/ 154 w 224"/>
                  <a:gd name="T9" fmla="*/ 28 h 160"/>
                  <a:gd name="T10" fmla="*/ 154 w 224"/>
                  <a:gd name="T11" fmla="*/ 160 h 160"/>
                  <a:gd name="T12" fmla="*/ 69 w 224"/>
                  <a:gd name="T13" fmla="*/ 160 h 160"/>
                  <a:gd name="T14" fmla="*/ 69 w 224"/>
                  <a:gd name="T15" fmla="*/ 28 h 160"/>
                  <a:gd name="T16" fmla="*/ 0 w 224"/>
                  <a:gd name="T17" fmla="*/ 28 h 160"/>
                  <a:gd name="T18" fmla="*/ 0 w 224"/>
                  <a:gd name="T19" fmla="*/ 25 h 160"/>
                  <a:gd name="T20" fmla="*/ 17 w 224"/>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60">
                    <a:moveTo>
                      <a:pt x="17" y="0"/>
                    </a:moveTo>
                    <a:lnTo>
                      <a:pt x="208" y="0"/>
                    </a:lnTo>
                    <a:lnTo>
                      <a:pt x="224" y="25"/>
                    </a:lnTo>
                    <a:lnTo>
                      <a:pt x="224" y="28"/>
                    </a:lnTo>
                    <a:lnTo>
                      <a:pt x="154" y="28"/>
                    </a:lnTo>
                    <a:lnTo>
                      <a:pt x="154" y="160"/>
                    </a:lnTo>
                    <a:lnTo>
                      <a:pt x="69" y="160"/>
                    </a:lnTo>
                    <a:lnTo>
                      <a:pt x="69" y="28"/>
                    </a:lnTo>
                    <a:lnTo>
                      <a:pt x="0" y="28"/>
                    </a:lnTo>
                    <a:lnTo>
                      <a:pt x="0" y="25"/>
                    </a:lnTo>
                    <a:lnTo>
                      <a:pt x="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Rectangle 30">
                <a:extLst>
                  <a:ext uri="{FF2B5EF4-FFF2-40B4-BE49-F238E27FC236}">
                    <a16:creationId xmlns="" xmlns:a16="http://schemas.microsoft.com/office/drawing/2014/main" id="{951935E8-B8C0-4BBF-8FA1-F74E7796A121}"/>
                  </a:ext>
                </a:extLst>
              </p:cNvPr>
              <p:cNvSpPr>
                <a:spLocks noChangeArrowheads="1"/>
              </p:cNvSpPr>
              <p:nvPr userDrawn="1"/>
            </p:nvSpPr>
            <p:spPr bwMode="auto">
              <a:xfrm>
                <a:off x="8855075" y="2601913"/>
                <a:ext cx="131763" cy="254000"/>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31">
                <a:extLst>
                  <a:ext uri="{FF2B5EF4-FFF2-40B4-BE49-F238E27FC236}">
                    <a16:creationId xmlns="" xmlns:a16="http://schemas.microsoft.com/office/drawing/2014/main" id="{9364F204-9405-4B08-AD91-AF57850CAD13}"/>
                  </a:ext>
                </a:extLst>
              </p:cNvPr>
              <p:cNvSpPr>
                <a:spLocks/>
              </p:cNvSpPr>
              <p:nvPr userDrawn="1"/>
            </p:nvSpPr>
            <p:spPr bwMode="auto">
              <a:xfrm>
                <a:off x="9080500" y="2601913"/>
                <a:ext cx="398463" cy="254000"/>
              </a:xfrm>
              <a:custGeom>
                <a:avLst/>
                <a:gdLst>
                  <a:gd name="T0" fmla="*/ 0 w 251"/>
                  <a:gd name="T1" fmla="*/ 0 h 160"/>
                  <a:gd name="T2" fmla="*/ 47 w 251"/>
                  <a:gd name="T3" fmla="*/ 0 h 160"/>
                  <a:gd name="T4" fmla="*/ 198 w 251"/>
                  <a:gd name="T5" fmla="*/ 86 h 160"/>
                  <a:gd name="T6" fmla="*/ 198 w 251"/>
                  <a:gd name="T7" fmla="*/ 0 h 160"/>
                  <a:gd name="T8" fmla="*/ 251 w 251"/>
                  <a:gd name="T9" fmla="*/ 0 h 160"/>
                  <a:gd name="T10" fmla="*/ 251 w 251"/>
                  <a:gd name="T11" fmla="*/ 160 h 160"/>
                  <a:gd name="T12" fmla="*/ 199 w 251"/>
                  <a:gd name="T13" fmla="*/ 160 h 160"/>
                  <a:gd name="T14" fmla="*/ 53 w 251"/>
                  <a:gd name="T15" fmla="*/ 79 h 160"/>
                  <a:gd name="T16" fmla="*/ 53 w 251"/>
                  <a:gd name="T17" fmla="*/ 160 h 160"/>
                  <a:gd name="T18" fmla="*/ 0 w 251"/>
                  <a:gd name="T19" fmla="*/ 160 h 160"/>
                  <a:gd name="T20" fmla="*/ 0 w 251"/>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0">
                    <a:moveTo>
                      <a:pt x="0" y="0"/>
                    </a:moveTo>
                    <a:lnTo>
                      <a:pt x="47" y="0"/>
                    </a:lnTo>
                    <a:lnTo>
                      <a:pt x="198" y="86"/>
                    </a:lnTo>
                    <a:lnTo>
                      <a:pt x="198" y="0"/>
                    </a:lnTo>
                    <a:lnTo>
                      <a:pt x="251" y="0"/>
                    </a:lnTo>
                    <a:lnTo>
                      <a:pt x="251" y="160"/>
                    </a:lnTo>
                    <a:lnTo>
                      <a:pt x="199" y="160"/>
                    </a:lnTo>
                    <a:lnTo>
                      <a:pt x="53" y="79"/>
                    </a:lnTo>
                    <a:lnTo>
                      <a:pt x="53" y="160"/>
                    </a:lnTo>
                    <a:lnTo>
                      <a:pt x="0" y="16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32">
                <a:extLst>
                  <a:ext uri="{FF2B5EF4-FFF2-40B4-BE49-F238E27FC236}">
                    <a16:creationId xmlns="" xmlns:a16="http://schemas.microsoft.com/office/drawing/2014/main" id="{95038DBC-F5B4-4DAD-B6FA-CC508E3E9191}"/>
                  </a:ext>
                </a:extLst>
              </p:cNvPr>
              <p:cNvSpPr>
                <a:spLocks noEditPoints="1"/>
              </p:cNvSpPr>
              <p:nvPr userDrawn="1"/>
            </p:nvSpPr>
            <p:spPr bwMode="auto">
              <a:xfrm>
                <a:off x="6545263" y="1928813"/>
                <a:ext cx="3494088" cy="2012950"/>
              </a:xfrm>
              <a:custGeom>
                <a:avLst/>
                <a:gdLst>
                  <a:gd name="T0" fmla="*/ 200 w 2201"/>
                  <a:gd name="T1" fmla="*/ 30 h 1268"/>
                  <a:gd name="T2" fmla="*/ 623 w 2201"/>
                  <a:gd name="T3" fmla="*/ 190 h 1268"/>
                  <a:gd name="T4" fmla="*/ 410 w 2201"/>
                  <a:gd name="T5" fmla="*/ 268 h 1268"/>
                  <a:gd name="T6" fmla="*/ 198 w 2201"/>
                  <a:gd name="T7" fmla="*/ 376 h 1268"/>
                  <a:gd name="T8" fmla="*/ 25 w 2201"/>
                  <a:gd name="T9" fmla="*/ 560 h 1268"/>
                  <a:gd name="T10" fmla="*/ 97 w 2201"/>
                  <a:gd name="T11" fmla="*/ 751 h 1268"/>
                  <a:gd name="T12" fmla="*/ 383 w 2201"/>
                  <a:gd name="T13" fmla="*/ 903 h 1268"/>
                  <a:gd name="T14" fmla="*/ 821 w 2201"/>
                  <a:gd name="T15" fmla="*/ 994 h 1268"/>
                  <a:gd name="T16" fmla="*/ 1274 w 2201"/>
                  <a:gd name="T17" fmla="*/ 1003 h 1268"/>
                  <a:gd name="T18" fmla="*/ 1284 w 2201"/>
                  <a:gd name="T19" fmla="*/ 1016 h 1268"/>
                  <a:gd name="T20" fmla="*/ 1100 w 2201"/>
                  <a:gd name="T21" fmla="*/ 1028 h 1268"/>
                  <a:gd name="T22" fmla="*/ 1265 w 2201"/>
                  <a:gd name="T23" fmla="*/ 1076 h 1268"/>
                  <a:gd name="T24" fmla="*/ 1526 w 2201"/>
                  <a:gd name="T25" fmla="*/ 1152 h 1268"/>
                  <a:gd name="T26" fmla="*/ 1754 w 2201"/>
                  <a:gd name="T27" fmla="*/ 1218 h 1268"/>
                  <a:gd name="T28" fmla="*/ 1854 w 2201"/>
                  <a:gd name="T29" fmla="*/ 1247 h 1268"/>
                  <a:gd name="T30" fmla="*/ 1869 w 2201"/>
                  <a:gd name="T31" fmla="*/ 1242 h 1268"/>
                  <a:gd name="T32" fmla="*/ 1867 w 2201"/>
                  <a:gd name="T33" fmla="*/ 1224 h 1268"/>
                  <a:gd name="T34" fmla="*/ 1627 w 2201"/>
                  <a:gd name="T35" fmla="*/ 1003 h 1268"/>
                  <a:gd name="T36" fmla="*/ 1790 w 2201"/>
                  <a:gd name="T37" fmla="*/ 914 h 1268"/>
                  <a:gd name="T38" fmla="*/ 2100 w 2201"/>
                  <a:gd name="T39" fmla="*/ 754 h 1268"/>
                  <a:gd name="T40" fmla="*/ 2175 w 2201"/>
                  <a:gd name="T41" fmla="*/ 558 h 1268"/>
                  <a:gd name="T42" fmla="*/ 2005 w 2201"/>
                  <a:gd name="T43" fmla="*/ 376 h 1268"/>
                  <a:gd name="T44" fmla="*/ 1636 w 2201"/>
                  <a:gd name="T45" fmla="*/ 245 h 1268"/>
                  <a:gd name="T46" fmla="*/ 1240 w 2201"/>
                  <a:gd name="T47" fmla="*/ 194 h 1268"/>
                  <a:gd name="T48" fmla="*/ 984 w 2201"/>
                  <a:gd name="T49" fmla="*/ 191 h 1268"/>
                  <a:gd name="T50" fmla="*/ 985 w 2201"/>
                  <a:gd name="T51" fmla="*/ 174 h 1268"/>
                  <a:gd name="T52" fmla="*/ 1095 w 2201"/>
                  <a:gd name="T53" fmla="*/ 150 h 1268"/>
                  <a:gd name="T54" fmla="*/ 885 w 2201"/>
                  <a:gd name="T55" fmla="*/ 84 h 1268"/>
                  <a:gd name="T56" fmla="*/ 713 w 2201"/>
                  <a:gd name="T57" fmla="*/ 31 h 1268"/>
                  <a:gd name="T58" fmla="*/ 210 w 2201"/>
                  <a:gd name="T59" fmla="*/ 19 h 1268"/>
                  <a:gd name="T60" fmla="*/ 1240 w 2201"/>
                  <a:gd name="T61" fmla="*/ 174 h 1268"/>
                  <a:gd name="T62" fmla="*/ 1754 w 2201"/>
                  <a:gd name="T63" fmla="*/ 254 h 1268"/>
                  <a:gd name="T64" fmla="*/ 2089 w 2201"/>
                  <a:gd name="T65" fmla="*/ 409 h 1268"/>
                  <a:gd name="T66" fmla="*/ 2201 w 2201"/>
                  <a:gd name="T67" fmla="*/ 599 h 1268"/>
                  <a:gd name="T68" fmla="*/ 2121 w 2201"/>
                  <a:gd name="T69" fmla="*/ 760 h 1268"/>
                  <a:gd name="T70" fmla="*/ 1819 w 2201"/>
                  <a:gd name="T71" fmla="*/ 924 h 1268"/>
                  <a:gd name="T72" fmla="*/ 1699 w 2201"/>
                  <a:gd name="T73" fmla="*/ 1009 h 1268"/>
                  <a:gd name="T74" fmla="*/ 1613 w 2201"/>
                  <a:gd name="T75" fmla="*/ 1075 h 1268"/>
                  <a:gd name="T76" fmla="*/ 1769 w 2201"/>
                  <a:gd name="T77" fmla="*/ 1152 h 1268"/>
                  <a:gd name="T78" fmla="*/ 1869 w 2201"/>
                  <a:gd name="T79" fmla="*/ 1201 h 1268"/>
                  <a:gd name="T80" fmla="*/ 1891 w 2201"/>
                  <a:gd name="T81" fmla="*/ 1242 h 1268"/>
                  <a:gd name="T82" fmla="*/ 1857 w 2201"/>
                  <a:gd name="T83" fmla="*/ 1268 h 1268"/>
                  <a:gd name="T84" fmla="*/ 907 w 2201"/>
                  <a:gd name="T85" fmla="*/ 1021 h 1268"/>
                  <a:gd name="T86" fmla="*/ 387 w 2201"/>
                  <a:gd name="T87" fmla="*/ 926 h 1268"/>
                  <a:gd name="T88" fmla="*/ 77 w 2201"/>
                  <a:gd name="T89" fmla="*/ 759 h 1268"/>
                  <a:gd name="T90" fmla="*/ 5 w 2201"/>
                  <a:gd name="T91" fmla="*/ 558 h 1268"/>
                  <a:gd name="T92" fmla="*/ 173 w 2201"/>
                  <a:gd name="T93" fmla="*/ 369 h 1268"/>
                  <a:gd name="T94" fmla="*/ 296 w 2201"/>
                  <a:gd name="T95" fmla="*/ 248 h 1268"/>
                  <a:gd name="T96" fmla="*/ 523 w 2201"/>
                  <a:gd name="T97" fmla="*/ 174 h 1268"/>
                  <a:gd name="T98" fmla="*/ 369 w 2201"/>
                  <a:gd name="T99" fmla="*/ 120 h 1268"/>
                  <a:gd name="T100" fmla="*/ 230 w 2201"/>
                  <a:gd name="T101" fmla="*/ 71 h 1268"/>
                  <a:gd name="T102" fmla="*/ 182 w 2201"/>
                  <a:gd name="T103" fmla="*/ 4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01" h="1268">
                    <a:moveTo>
                      <a:pt x="210" y="19"/>
                    </a:moveTo>
                    <a:lnTo>
                      <a:pt x="206" y="21"/>
                    </a:lnTo>
                    <a:lnTo>
                      <a:pt x="203" y="22"/>
                    </a:lnTo>
                    <a:lnTo>
                      <a:pt x="200" y="25"/>
                    </a:lnTo>
                    <a:lnTo>
                      <a:pt x="200" y="30"/>
                    </a:lnTo>
                    <a:lnTo>
                      <a:pt x="200" y="34"/>
                    </a:lnTo>
                    <a:lnTo>
                      <a:pt x="203" y="37"/>
                    </a:lnTo>
                    <a:lnTo>
                      <a:pt x="206" y="40"/>
                    </a:lnTo>
                    <a:lnTo>
                      <a:pt x="586" y="176"/>
                    </a:lnTo>
                    <a:lnTo>
                      <a:pt x="623" y="190"/>
                    </a:lnTo>
                    <a:lnTo>
                      <a:pt x="585" y="196"/>
                    </a:lnTo>
                    <a:lnTo>
                      <a:pt x="506" y="211"/>
                    </a:lnTo>
                    <a:lnTo>
                      <a:pt x="431" y="229"/>
                    </a:lnTo>
                    <a:lnTo>
                      <a:pt x="360" y="250"/>
                    </a:lnTo>
                    <a:lnTo>
                      <a:pt x="410" y="268"/>
                    </a:lnTo>
                    <a:lnTo>
                      <a:pt x="438" y="277"/>
                    </a:lnTo>
                    <a:lnTo>
                      <a:pt x="410" y="286"/>
                    </a:lnTo>
                    <a:lnTo>
                      <a:pt x="331" y="313"/>
                    </a:lnTo>
                    <a:lnTo>
                      <a:pt x="260" y="343"/>
                    </a:lnTo>
                    <a:lnTo>
                      <a:pt x="198" y="376"/>
                    </a:lnTo>
                    <a:lnTo>
                      <a:pt x="145" y="409"/>
                    </a:lnTo>
                    <a:lnTo>
                      <a:pt x="102" y="446"/>
                    </a:lnTo>
                    <a:lnTo>
                      <a:pt x="65" y="482"/>
                    </a:lnTo>
                    <a:lnTo>
                      <a:pt x="41" y="521"/>
                    </a:lnTo>
                    <a:lnTo>
                      <a:pt x="25" y="560"/>
                    </a:lnTo>
                    <a:lnTo>
                      <a:pt x="20" y="599"/>
                    </a:lnTo>
                    <a:lnTo>
                      <a:pt x="25" y="640"/>
                    </a:lnTo>
                    <a:lnTo>
                      <a:pt x="40" y="677"/>
                    </a:lnTo>
                    <a:lnTo>
                      <a:pt x="64" y="715"/>
                    </a:lnTo>
                    <a:lnTo>
                      <a:pt x="97" y="751"/>
                    </a:lnTo>
                    <a:lnTo>
                      <a:pt x="139" y="786"/>
                    </a:lnTo>
                    <a:lnTo>
                      <a:pt x="189" y="819"/>
                    </a:lnTo>
                    <a:lnTo>
                      <a:pt x="247" y="849"/>
                    </a:lnTo>
                    <a:lnTo>
                      <a:pt x="312" y="878"/>
                    </a:lnTo>
                    <a:lnTo>
                      <a:pt x="383" y="903"/>
                    </a:lnTo>
                    <a:lnTo>
                      <a:pt x="460" y="927"/>
                    </a:lnTo>
                    <a:lnTo>
                      <a:pt x="543" y="948"/>
                    </a:lnTo>
                    <a:lnTo>
                      <a:pt x="630" y="967"/>
                    </a:lnTo>
                    <a:lnTo>
                      <a:pt x="722" y="982"/>
                    </a:lnTo>
                    <a:lnTo>
                      <a:pt x="821" y="994"/>
                    </a:lnTo>
                    <a:lnTo>
                      <a:pt x="920" y="1003"/>
                    </a:lnTo>
                    <a:lnTo>
                      <a:pt x="1024" y="1007"/>
                    </a:lnTo>
                    <a:lnTo>
                      <a:pt x="1100" y="1007"/>
                    </a:lnTo>
                    <a:lnTo>
                      <a:pt x="1188" y="1006"/>
                    </a:lnTo>
                    <a:lnTo>
                      <a:pt x="1274" y="1003"/>
                    </a:lnTo>
                    <a:lnTo>
                      <a:pt x="1278" y="1003"/>
                    </a:lnTo>
                    <a:lnTo>
                      <a:pt x="1281" y="1006"/>
                    </a:lnTo>
                    <a:lnTo>
                      <a:pt x="1284" y="1009"/>
                    </a:lnTo>
                    <a:lnTo>
                      <a:pt x="1284" y="1012"/>
                    </a:lnTo>
                    <a:lnTo>
                      <a:pt x="1284" y="1016"/>
                    </a:lnTo>
                    <a:lnTo>
                      <a:pt x="1283" y="1019"/>
                    </a:lnTo>
                    <a:lnTo>
                      <a:pt x="1280" y="1021"/>
                    </a:lnTo>
                    <a:lnTo>
                      <a:pt x="1275" y="1022"/>
                    </a:lnTo>
                    <a:lnTo>
                      <a:pt x="1189" y="1027"/>
                    </a:lnTo>
                    <a:lnTo>
                      <a:pt x="1100" y="1028"/>
                    </a:lnTo>
                    <a:lnTo>
                      <a:pt x="1100" y="1028"/>
                    </a:lnTo>
                    <a:lnTo>
                      <a:pt x="1133" y="1037"/>
                    </a:lnTo>
                    <a:lnTo>
                      <a:pt x="1172" y="1049"/>
                    </a:lnTo>
                    <a:lnTo>
                      <a:pt x="1216" y="1061"/>
                    </a:lnTo>
                    <a:lnTo>
                      <a:pt x="1265" y="1076"/>
                    </a:lnTo>
                    <a:lnTo>
                      <a:pt x="1314" y="1090"/>
                    </a:lnTo>
                    <a:lnTo>
                      <a:pt x="1366" y="1105"/>
                    </a:lnTo>
                    <a:lnTo>
                      <a:pt x="1419" y="1120"/>
                    </a:lnTo>
                    <a:lnTo>
                      <a:pt x="1473" y="1137"/>
                    </a:lnTo>
                    <a:lnTo>
                      <a:pt x="1526" y="1152"/>
                    </a:lnTo>
                    <a:lnTo>
                      <a:pt x="1577" y="1167"/>
                    </a:lnTo>
                    <a:lnTo>
                      <a:pt x="1625" y="1182"/>
                    </a:lnTo>
                    <a:lnTo>
                      <a:pt x="1672" y="1195"/>
                    </a:lnTo>
                    <a:lnTo>
                      <a:pt x="1716" y="1207"/>
                    </a:lnTo>
                    <a:lnTo>
                      <a:pt x="1754" y="1218"/>
                    </a:lnTo>
                    <a:lnTo>
                      <a:pt x="1789" y="1229"/>
                    </a:lnTo>
                    <a:lnTo>
                      <a:pt x="1816" y="1236"/>
                    </a:lnTo>
                    <a:lnTo>
                      <a:pt x="1835" y="1242"/>
                    </a:lnTo>
                    <a:lnTo>
                      <a:pt x="1849" y="1247"/>
                    </a:lnTo>
                    <a:lnTo>
                      <a:pt x="1854" y="1247"/>
                    </a:lnTo>
                    <a:lnTo>
                      <a:pt x="1857" y="1248"/>
                    </a:lnTo>
                    <a:lnTo>
                      <a:pt x="1861" y="1248"/>
                    </a:lnTo>
                    <a:lnTo>
                      <a:pt x="1864" y="1247"/>
                    </a:lnTo>
                    <a:lnTo>
                      <a:pt x="1867" y="1244"/>
                    </a:lnTo>
                    <a:lnTo>
                      <a:pt x="1869" y="1242"/>
                    </a:lnTo>
                    <a:lnTo>
                      <a:pt x="1870" y="1238"/>
                    </a:lnTo>
                    <a:lnTo>
                      <a:pt x="1872" y="1235"/>
                    </a:lnTo>
                    <a:lnTo>
                      <a:pt x="1872" y="1230"/>
                    </a:lnTo>
                    <a:lnTo>
                      <a:pt x="1869" y="1227"/>
                    </a:lnTo>
                    <a:lnTo>
                      <a:pt x="1867" y="1224"/>
                    </a:lnTo>
                    <a:lnTo>
                      <a:pt x="1864" y="1221"/>
                    </a:lnTo>
                    <a:lnTo>
                      <a:pt x="1502" y="1042"/>
                    </a:lnTo>
                    <a:lnTo>
                      <a:pt x="1471" y="1028"/>
                    </a:lnTo>
                    <a:lnTo>
                      <a:pt x="1505" y="1024"/>
                    </a:lnTo>
                    <a:lnTo>
                      <a:pt x="1627" y="1003"/>
                    </a:lnTo>
                    <a:lnTo>
                      <a:pt x="1745" y="979"/>
                    </a:lnTo>
                    <a:lnTo>
                      <a:pt x="1701" y="956"/>
                    </a:lnTo>
                    <a:lnTo>
                      <a:pt x="1677" y="944"/>
                    </a:lnTo>
                    <a:lnTo>
                      <a:pt x="1704" y="938"/>
                    </a:lnTo>
                    <a:lnTo>
                      <a:pt x="1790" y="914"/>
                    </a:lnTo>
                    <a:lnTo>
                      <a:pt x="1869" y="885"/>
                    </a:lnTo>
                    <a:lnTo>
                      <a:pt x="1938" y="857"/>
                    </a:lnTo>
                    <a:lnTo>
                      <a:pt x="2002" y="825"/>
                    </a:lnTo>
                    <a:lnTo>
                      <a:pt x="2054" y="790"/>
                    </a:lnTo>
                    <a:lnTo>
                      <a:pt x="2100" y="754"/>
                    </a:lnTo>
                    <a:lnTo>
                      <a:pt x="2134" y="718"/>
                    </a:lnTo>
                    <a:lnTo>
                      <a:pt x="2160" y="679"/>
                    </a:lnTo>
                    <a:lnTo>
                      <a:pt x="2175" y="640"/>
                    </a:lnTo>
                    <a:lnTo>
                      <a:pt x="2181" y="599"/>
                    </a:lnTo>
                    <a:lnTo>
                      <a:pt x="2175" y="558"/>
                    </a:lnTo>
                    <a:lnTo>
                      <a:pt x="2160" y="519"/>
                    </a:lnTo>
                    <a:lnTo>
                      <a:pt x="2134" y="482"/>
                    </a:lnTo>
                    <a:lnTo>
                      <a:pt x="2100" y="444"/>
                    </a:lnTo>
                    <a:lnTo>
                      <a:pt x="2056" y="409"/>
                    </a:lnTo>
                    <a:lnTo>
                      <a:pt x="2005" y="376"/>
                    </a:lnTo>
                    <a:lnTo>
                      <a:pt x="1944" y="345"/>
                    </a:lnTo>
                    <a:lnTo>
                      <a:pt x="1878" y="316"/>
                    </a:lnTo>
                    <a:lnTo>
                      <a:pt x="1804" y="289"/>
                    </a:lnTo>
                    <a:lnTo>
                      <a:pt x="1722" y="266"/>
                    </a:lnTo>
                    <a:lnTo>
                      <a:pt x="1636" y="245"/>
                    </a:lnTo>
                    <a:lnTo>
                      <a:pt x="1544" y="227"/>
                    </a:lnTo>
                    <a:lnTo>
                      <a:pt x="1447" y="212"/>
                    </a:lnTo>
                    <a:lnTo>
                      <a:pt x="1346" y="202"/>
                    </a:lnTo>
                    <a:lnTo>
                      <a:pt x="1240" y="194"/>
                    </a:lnTo>
                    <a:lnTo>
                      <a:pt x="1240" y="194"/>
                    </a:lnTo>
                    <a:lnTo>
                      <a:pt x="1171" y="193"/>
                    </a:lnTo>
                    <a:lnTo>
                      <a:pt x="1100" y="191"/>
                    </a:lnTo>
                    <a:lnTo>
                      <a:pt x="990" y="194"/>
                    </a:lnTo>
                    <a:lnTo>
                      <a:pt x="987" y="193"/>
                    </a:lnTo>
                    <a:lnTo>
                      <a:pt x="984" y="191"/>
                    </a:lnTo>
                    <a:lnTo>
                      <a:pt x="981" y="188"/>
                    </a:lnTo>
                    <a:lnTo>
                      <a:pt x="979" y="184"/>
                    </a:lnTo>
                    <a:lnTo>
                      <a:pt x="981" y="180"/>
                    </a:lnTo>
                    <a:lnTo>
                      <a:pt x="982" y="176"/>
                    </a:lnTo>
                    <a:lnTo>
                      <a:pt x="985" y="174"/>
                    </a:lnTo>
                    <a:lnTo>
                      <a:pt x="990" y="173"/>
                    </a:lnTo>
                    <a:lnTo>
                      <a:pt x="1100" y="171"/>
                    </a:lnTo>
                    <a:lnTo>
                      <a:pt x="1165" y="171"/>
                    </a:lnTo>
                    <a:lnTo>
                      <a:pt x="1132" y="162"/>
                    </a:lnTo>
                    <a:lnTo>
                      <a:pt x="1095" y="150"/>
                    </a:lnTo>
                    <a:lnTo>
                      <a:pt x="1056" y="138"/>
                    </a:lnTo>
                    <a:lnTo>
                      <a:pt x="1014" y="125"/>
                    </a:lnTo>
                    <a:lnTo>
                      <a:pt x="972" y="111"/>
                    </a:lnTo>
                    <a:lnTo>
                      <a:pt x="928" y="98"/>
                    </a:lnTo>
                    <a:lnTo>
                      <a:pt x="885" y="84"/>
                    </a:lnTo>
                    <a:lnTo>
                      <a:pt x="843" y="72"/>
                    </a:lnTo>
                    <a:lnTo>
                      <a:pt x="805" y="60"/>
                    </a:lnTo>
                    <a:lnTo>
                      <a:pt x="769" y="49"/>
                    </a:lnTo>
                    <a:lnTo>
                      <a:pt x="739" y="39"/>
                    </a:lnTo>
                    <a:lnTo>
                      <a:pt x="713" y="31"/>
                    </a:lnTo>
                    <a:lnTo>
                      <a:pt x="694" y="25"/>
                    </a:lnTo>
                    <a:lnTo>
                      <a:pt x="682" y="21"/>
                    </a:lnTo>
                    <a:lnTo>
                      <a:pt x="677" y="19"/>
                    </a:lnTo>
                    <a:lnTo>
                      <a:pt x="672" y="19"/>
                    </a:lnTo>
                    <a:lnTo>
                      <a:pt x="210" y="19"/>
                    </a:lnTo>
                    <a:close/>
                    <a:moveTo>
                      <a:pt x="210" y="0"/>
                    </a:moveTo>
                    <a:lnTo>
                      <a:pt x="672" y="0"/>
                    </a:lnTo>
                    <a:lnTo>
                      <a:pt x="679" y="0"/>
                    </a:lnTo>
                    <a:lnTo>
                      <a:pt x="683" y="1"/>
                    </a:lnTo>
                    <a:lnTo>
                      <a:pt x="1240" y="174"/>
                    </a:lnTo>
                    <a:lnTo>
                      <a:pt x="1352" y="182"/>
                    </a:lnTo>
                    <a:lnTo>
                      <a:pt x="1459" y="194"/>
                    </a:lnTo>
                    <a:lnTo>
                      <a:pt x="1562" y="211"/>
                    </a:lnTo>
                    <a:lnTo>
                      <a:pt x="1662" y="230"/>
                    </a:lnTo>
                    <a:lnTo>
                      <a:pt x="1754" y="254"/>
                    </a:lnTo>
                    <a:lnTo>
                      <a:pt x="1841" y="281"/>
                    </a:lnTo>
                    <a:lnTo>
                      <a:pt x="1920" y="313"/>
                    </a:lnTo>
                    <a:lnTo>
                      <a:pt x="1985" y="343"/>
                    </a:lnTo>
                    <a:lnTo>
                      <a:pt x="2041" y="376"/>
                    </a:lnTo>
                    <a:lnTo>
                      <a:pt x="2089" y="409"/>
                    </a:lnTo>
                    <a:lnTo>
                      <a:pt x="2128" y="446"/>
                    </a:lnTo>
                    <a:lnTo>
                      <a:pt x="2160" y="483"/>
                    </a:lnTo>
                    <a:lnTo>
                      <a:pt x="2183" y="521"/>
                    </a:lnTo>
                    <a:lnTo>
                      <a:pt x="2196" y="560"/>
                    </a:lnTo>
                    <a:lnTo>
                      <a:pt x="2201" y="599"/>
                    </a:lnTo>
                    <a:lnTo>
                      <a:pt x="2201" y="599"/>
                    </a:lnTo>
                    <a:lnTo>
                      <a:pt x="2196" y="641"/>
                    </a:lnTo>
                    <a:lnTo>
                      <a:pt x="2181" y="682"/>
                    </a:lnTo>
                    <a:lnTo>
                      <a:pt x="2156" y="723"/>
                    </a:lnTo>
                    <a:lnTo>
                      <a:pt x="2121" y="760"/>
                    </a:lnTo>
                    <a:lnTo>
                      <a:pt x="2077" y="798"/>
                    </a:lnTo>
                    <a:lnTo>
                      <a:pt x="2026" y="833"/>
                    </a:lnTo>
                    <a:lnTo>
                      <a:pt x="1964" y="866"/>
                    </a:lnTo>
                    <a:lnTo>
                      <a:pt x="1896" y="897"/>
                    </a:lnTo>
                    <a:lnTo>
                      <a:pt x="1819" y="924"/>
                    </a:lnTo>
                    <a:lnTo>
                      <a:pt x="1734" y="950"/>
                    </a:lnTo>
                    <a:lnTo>
                      <a:pt x="1778" y="973"/>
                    </a:lnTo>
                    <a:lnTo>
                      <a:pt x="1802" y="985"/>
                    </a:lnTo>
                    <a:lnTo>
                      <a:pt x="1777" y="991"/>
                    </a:lnTo>
                    <a:lnTo>
                      <a:pt x="1699" y="1009"/>
                    </a:lnTo>
                    <a:lnTo>
                      <a:pt x="1621" y="1025"/>
                    </a:lnTo>
                    <a:lnTo>
                      <a:pt x="1539" y="1039"/>
                    </a:lnTo>
                    <a:lnTo>
                      <a:pt x="1561" y="1049"/>
                    </a:lnTo>
                    <a:lnTo>
                      <a:pt x="1585" y="1061"/>
                    </a:lnTo>
                    <a:lnTo>
                      <a:pt x="1613" y="1075"/>
                    </a:lnTo>
                    <a:lnTo>
                      <a:pt x="1642" y="1090"/>
                    </a:lnTo>
                    <a:lnTo>
                      <a:pt x="1674" y="1105"/>
                    </a:lnTo>
                    <a:lnTo>
                      <a:pt x="1707" y="1122"/>
                    </a:lnTo>
                    <a:lnTo>
                      <a:pt x="1739" y="1137"/>
                    </a:lnTo>
                    <a:lnTo>
                      <a:pt x="1769" y="1152"/>
                    </a:lnTo>
                    <a:lnTo>
                      <a:pt x="1796" y="1165"/>
                    </a:lnTo>
                    <a:lnTo>
                      <a:pt x="1822" y="1179"/>
                    </a:lnTo>
                    <a:lnTo>
                      <a:pt x="1843" y="1189"/>
                    </a:lnTo>
                    <a:lnTo>
                      <a:pt x="1858" y="1197"/>
                    </a:lnTo>
                    <a:lnTo>
                      <a:pt x="1869" y="1201"/>
                    </a:lnTo>
                    <a:lnTo>
                      <a:pt x="1872" y="1203"/>
                    </a:lnTo>
                    <a:lnTo>
                      <a:pt x="1882" y="1212"/>
                    </a:lnTo>
                    <a:lnTo>
                      <a:pt x="1890" y="1223"/>
                    </a:lnTo>
                    <a:lnTo>
                      <a:pt x="1891" y="1236"/>
                    </a:lnTo>
                    <a:lnTo>
                      <a:pt x="1891" y="1242"/>
                    </a:lnTo>
                    <a:lnTo>
                      <a:pt x="1888" y="1248"/>
                    </a:lnTo>
                    <a:lnTo>
                      <a:pt x="1885" y="1254"/>
                    </a:lnTo>
                    <a:lnTo>
                      <a:pt x="1881" y="1259"/>
                    </a:lnTo>
                    <a:lnTo>
                      <a:pt x="1870" y="1266"/>
                    </a:lnTo>
                    <a:lnTo>
                      <a:pt x="1857" y="1268"/>
                    </a:lnTo>
                    <a:lnTo>
                      <a:pt x="1852" y="1268"/>
                    </a:lnTo>
                    <a:lnTo>
                      <a:pt x="1848" y="1266"/>
                    </a:lnTo>
                    <a:lnTo>
                      <a:pt x="1024" y="1027"/>
                    </a:lnTo>
                    <a:lnTo>
                      <a:pt x="1023" y="1027"/>
                    </a:lnTo>
                    <a:lnTo>
                      <a:pt x="907" y="1021"/>
                    </a:lnTo>
                    <a:lnTo>
                      <a:pt x="793" y="1012"/>
                    </a:lnTo>
                    <a:lnTo>
                      <a:pt x="683" y="997"/>
                    </a:lnTo>
                    <a:lnTo>
                      <a:pt x="579" y="977"/>
                    </a:lnTo>
                    <a:lnTo>
                      <a:pt x="479" y="953"/>
                    </a:lnTo>
                    <a:lnTo>
                      <a:pt x="387" y="926"/>
                    </a:lnTo>
                    <a:lnTo>
                      <a:pt x="301" y="894"/>
                    </a:lnTo>
                    <a:lnTo>
                      <a:pt x="233" y="864"/>
                    </a:lnTo>
                    <a:lnTo>
                      <a:pt x="173" y="831"/>
                    </a:lnTo>
                    <a:lnTo>
                      <a:pt x="120" y="796"/>
                    </a:lnTo>
                    <a:lnTo>
                      <a:pt x="77" y="759"/>
                    </a:lnTo>
                    <a:lnTo>
                      <a:pt x="44" y="721"/>
                    </a:lnTo>
                    <a:lnTo>
                      <a:pt x="20" y="682"/>
                    </a:lnTo>
                    <a:lnTo>
                      <a:pt x="5" y="641"/>
                    </a:lnTo>
                    <a:lnTo>
                      <a:pt x="0" y="599"/>
                    </a:lnTo>
                    <a:lnTo>
                      <a:pt x="5" y="558"/>
                    </a:lnTo>
                    <a:lnTo>
                      <a:pt x="20" y="518"/>
                    </a:lnTo>
                    <a:lnTo>
                      <a:pt x="44" y="479"/>
                    </a:lnTo>
                    <a:lnTo>
                      <a:pt x="77" y="439"/>
                    </a:lnTo>
                    <a:lnTo>
                      <a:pt x="121" y="403"/>
                    </a:lnTo>
                    <a:lnTo>
                      <a:pt x="173" y="369"/>
                    </a:lnTo>
                    <a:lnTo>
                      <a:pt x="231" y="336"/>
                    </a:lnTo>
                    <a:lnTo>
                      <a:pt x="299" y="304"/>
                    </a:lnTo>
                    <a:lnTo>
                      <a:pt x="376" y="277"/>
                    </a:lnTo>
                    <a:lnTo>
                      <a:pt x="325" y="259"/>
                    </a:lnTo>
                    <a:lnTo>
                      <a:pt x="296" y="248"/>
                    </a:lnTo>
                    <a:lnTo>
                      <a:pt x="325" y="239"/>
                    </a:lnTo>
                    <a:lnTo>
                      <a:pt x="395" y="218"/>
                    </a:lnTo>
                    <a:lnTo>
                      <a:pt x="469" y="200"/>
                    </a:lnTo>
                    <a:lnTo>
                      <a:pt x="546" y="182"/>
                    </a:lnTo>
                    <a:lnTo>
                      <a:pt x="523" y="174"/>
                    </a:lnTo>
                    <a:lnTo>
                      <a:pt x="497" y="165"/>
                    </a:lnTo>
                    <a:lnTo>
                      <a:pt x="467" y="155"/>
                    </a:lnTo>
                    <a:lnTo>
                      <a:pt x="435" y="143"/>
                    </a:lnTo>
                    <a:lnTo>
                      <a:pt x="402" y="132"/>
                    </a:lnTo>
                    <a:lnTo>
                      <a:pt x="369" y="120"/>
                    </a:lnTo>
                    <a:lnTo>
                      <a:pt x="337" y="108"/>
                    </a:lnTo>
                    <a:lnTo>
                      <a:pt x="305" y="98"/>
                    </a:lnTo>
                    <a:lnTo>
                      <a:pt x="277" y="87"/>
                    </a:lnTo>
                    <a:lnTo>
                      <a:pt x="251" y="78"/>
                    </a:lnTo>
                    <a:lnTo>
                      <a:pt x="230" y="71"/>
                    </a:lnTo>
                    <a:lnTo>
                      <a:pt x="213" y="65"/>
                    </a:lnTo>
                    <a:lnTo>
                      <a:pt x="203" y="60"/>
                    </a:lnTo>
                    <a:lnTo>
                      <a:pt x="198" y="59"/>
                    </a:lnTo>
                    <a:lnTo>
                      <a:pt x="189" y="52"/>
                    </a:lnTo>
                    <a:lnTo>
                      <a:pt x="182" y="42"/>
                    </a:lnTo>
                    <a:lnTo>
                      <a:pt x="179" y="30"/>
                    </a:lnTo>
                    <a:lnTo>
                      <a:pt x="183" y="15"/>
                    </a:lnTo>
                    <a:lnTo>
                      <a:pt x="195" y="3"/>
                    </a:lnTo>
                    <a:lnTo>
                      <a:pt x="210" y="0"/>
                    </a:lnTo>
                    <a:close/>
                  </a:path>
                </a:pathLst>
              </a:custGeom>
              <a:solidFill>
                <a:srgbClr val="0F07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3">
                <a:extLst>
                  <a:ext uri="{FF2B5EF4-FFF2-40B4-BE49-F238E27FC236}">
                    <a16:creationId xmlns="" xmlns:a16="http://schemas.microsoft.com/office/drawing/2014/main" id="{6DE515ED-2361-436D-AEE7-63A5CA8A60FF}"/>
                  </a:ext>
                </a:extLst>
              </p:cNvPr>
              <p:cNvSpPr>
                <a:spLocks noEditPoints="1"/>
              </p:cNvSpPr>
              <p:nvPr userDrawn="1"/>
            </p:nvSpPr>
            <p:spPr bwMode="auto">
              <a:xfrm>
                <a:off x="9478963" y="2100263"/>
                <a:ext cx="244475" cy="249238"/>
              </a:xfrm>
              <a:custGeom>
                <a:avLst/>
                <a:gdLst>
                  <a:gd name="T0" fmla="*/ 66 w 154"/>
                  <a:gd name="T1" fmla="*/ 45 h 157"/>
                  <a:gd name="T2" fmla="*/ 63 w 154"/>
                  <a:gd name="T3" fmla="*/ 76 h 157"/>
                  <a:gd name="T4" fmla="*/ 78 w 154"/>
                  <a:gd name="T5" fmla="*/ 76 h 157"/>
                  <a:gd name="T6" fmla="*/ 87 w 154"/>
                  <a:gd name="T7" fmla="*/ 72 h 157"/>
                  <a:gd name="T8" fmla="*/ 93 w 154"/>
                  <a:gd name="T9" fmla="*/ 66 h 157"/>
                  <a:gd name="T10" fmla="*/ 93 w 154"/>
                  <a:gd name="T11" fmla="*/ 57 h 157"/>
                  <a:gd name="T12" fmla="*/ 89 w 154"/>
                  <a:gd name="T13" fmla="*/ 50 h 157"/>
                  <a:gd name="T14" fmla="*/ 80 w 154"/>
                  <a:gd name="T15" fmla="*/ 47 h 157"/>
                  <a:gd name="T16" fmla="*/ 74 w 154"/>
                  <a:gd name="T17" fmla="*/ 35 h 157"/>
                  <a:gd name="T18" fmla="*/ 101 w 154"/>
                  <a:gd name="T19" fmla="*/ 42 h 157"/>
                  <a:gd name="T20" fmla="*/ 107 w 154"/>
                  <a:gd name="T21" fmla="*/ 48 h 157"/>
                  <a:gd name="T22" fmla="*/ 108 w 154"/>
                  <a:gd name="T23" fmla="*/ 60 h 157"/>
                  <a:gd name="T24" fmla="*/ 105 w 154"/>
                  <a:gd name="T25" fmla="*/ 71 h 157"/>
                  <a:gd name="T26" fmla="*/ 96 w 154"/>
                  <a:gd name="T27" fmla="*/ 79 h 157"/>
                  <a:gd name="T28" fmla="*/ 92 w 154"/>
                  <a:gd name="T29" fmla="*/ 82 h 157"/>
                  <a:gd name="T30" fmla="*/ 99 w 154"/>
                  <a:gd name="T31" fmla="*/ 86 h 157"/>
                  <a:gd name="T32" fmla="*/ 104 w 154"/>
                  <a:gd name="T33" fmla="*/ 95 h 157"/>
                  <a:gd name="T34" fmla="*/ 107 w 154"/>
                  <a:gd name="T35" fmla="*/ 110 h 157"/>
                  <a:gd name="T36" fmla="*/ 110 w 154"/>
                  <a:gd name="T37" fmla="*/ 119 h 157"/>
                  <a:gd name="T38" fmla="*/ 111 w 154"/>
                  <a:gd name="T39" fmla="*/ 124 h 157"/>
                  <a:gd name="T40" fmla="*/ 95 w 154"/>
                  <a:gd name="T41" fmla="*/ 121 h 157"/>
                  <a:gd name="T42" fmla="*/ 92 w 154"/>
                  <a:gd name="T43" fmla="*/ 110 h 157"/>
                  <a:gd name="T44" fmla="*/ 89 w 154"/>
                  <a:gd name="T45" fmla="*/ 97 h 157"/>
                  <a:gd name="T46" fmla="*/ 83 w 154"/>
                  <a:gd name="T47" fmla="*/ 89 h 157"/>
                  <a:gd name="T48" fmla="*/ 72 w 154"/>
                  <a:gd name="T49" fmla="*/ 86 h 157"/>
                  <a:gd name="T50" fmla="*/ 63 w 154"/>
                  <a:gd name="T51" fmla="*/ 124 h 157"/>
                  <a:gd name="T52" fmla="*/ 48 w 154"/>
                  <a:gd name="T53" fmla="*/ 38 h 157"/>
                  <a:gd name="T54" fmla="*/ 74 w 154"/>
                  <a:gd name="T55" fmla="*/ 35 h 157"/>
                  <a:gd name="T56" fmla="*/ 57 w 154"/>
                  <a:gd name="T57" fmla="*/ 17 h 157"/>
                  <a:gd name="T58" fmla="*/ 27 w 154"/>
                  <a:gd name="T59" fmla="*/ 39 h 157"/>
                  <a:gd name="T60" fmla="*/ 15 w 154"/>
                  <a:gd name="T61" fmla="*/ 79 h 157"/>
                  <a:gd name="T62" fmla="*/ 27 w 154"/>
                  <a:gd name="T63" fmla="*/ 118 h 157"/>
                  <a:gd name="T64" fmla="*/ 57 w 154"/>
                  <a:gd name="T65" fmla="*/ 142 h 157"/>
                  <a:gd name="T66" fmla="*/ 98 w 154"/>
                  <a:gd name="T67" fmla="*/ 142 h 157"/>
                  <a:gd name="T68" fmla="*/ 128 w 154"/>
                  <a:gd name="T69" fmla="*/ 118 h 157"/>
                  <a:gd name="T70" fmla="*/ 140 w 154"/>
                  <a:gd name="T71" fmla="*/ 79 h 157"/>
                  <a:gd name="T72" fmla="*/ 128 w 154"/>
                  <a:gd name="T73" fmla="*/ 39 h 157"/>
                  <a:gd name="T74" fmla="*/ 98 w 154"/>
                  <a:gd name="T75" fmla="*/ 17 h 157"/>
                  <a:gd name="T76" fmla="*/ 77 w 154"/>
                  <a:gd name="T77" fmla="*/ 12 h 157"/>
                  <a:gd name="T78" fmla="*/ 78 w 154"/>
                  <a:gd name="T79" fmla="*/ 0 h 157"/>
                  <a:gd name="T80" fmla="*/ 123 w 154"/>
                  <a:gd name="T81" fmla="*/ 15 h 157"/>
                  <a:gd name="T82" fmla="*/ 151 w 154"/>
                  <a:gd name="T83" fmla="*/ 54 h 157"/>
                  <a:gd name="T84" fmla="*/ 151 w 154"/>
                  <a:gd name="T85" fmla="*/ 104 h 157"/>
                  <a:gd name="T86" fmla="*/ 123 w 154"/>
                  <a:gd name="T87" fmla="*/ 142 h 157"/>
                  <a:gd name="T88" fmla="*/ 77 w 154"/>
                  <a:gd name="T89" fmla="*/ 157 h 157"/>
                  <a:gd name="T90" fmla="*/ 31 w 154"/>
                  <a:gd name="T91" fmla="*/ 142 h 157"/>
                  <a:gd name="T92" fmla="*/ 4 w 154"/>
                  <a:gd name="T93" fmla="*/ 104 h 157"/>
                  <a:gd name="T94" fmla="*/ 4 w 154"/>
                  <a:gd name="T95" fmla="*/ 54 h 157"/>
                  <a:gd name="T96" fmla="*/ 31 w 154"/>
                  <a:gd name="T97" fmla="*/ 15 h 157"/>
                  <a:gd name="T98" fmla="*/ 77 w 154"/>
                  <a:gd name="T9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157">
                    <a:moveTo>
                      <a:pt x="72" y="45"/>
                    </a:moveTo>
                    <a:lnTo>
                      <a:pt x="66" y="45"/>
                    </a:lnTo>
                    <a:lnTo>
                      <a:pt x="63" y="47"/>
                    </a:lnTo>
                    <a:lnTo>
                      <a:pt x="63" y="76"/>
                    </a:lnTo>
                    <a:lnTo>
                      <a:pt x="72" y="76"/>
                    </a:lnTo>
                    <a:lnTo>
                      <a:pt x="78" y="76"/>
                    </a:lnTo>
                    <a:lnTo>
                      <a:pt x="83" y="74"/>
                    </a:lnTo>
                    <a:lnTo>
                      <a:pt x="87" y="72"/>
                    </a:lnTo>
                    <a:lnTo>
                      <a:pt x="90" y="69"/>
                    </a:lnTo>
                    <a:lnTo>
                      <a:pt x="93" y="66"/>
                    </a:lnTo>
                    <a:lnTo>
                      <a:pt x="93" y="60"/>
                    </a:lnTo>
                    <a:lnTo>
                      <a:pt x="93" y="57"/>
                    </a:lnTo>
                    <a:lnTo>
                      <a:pt x="92" y="54"/>
                    </a:lnTo>
                    <a:lnTo>
                      <a:pt x="89" y="50"/>
                    </a:lnTo>
                    <a:lnTo>
                      <a:pt x="86" y="48"/>
                    </a:lnTo>
                    <a:lnTo>
                      <a:pt x="80" y="47"/>
                    </a:lnTo>
                    <a:lnTo>
                      <a:pt x="72" y="45"/>
                    </a:lnTo>
                    <a:close/>
                    <a:moveTo>
                      <a:pt x="74" y="35"/>
                    </a:moveTo>
                    <a:lnTo>
                      <a:pt x="90" y="36"/>
                    </a:lnTo>
                    <a:lnTo>
                      <a:pt x="101" y="42"/>
                    </a:lnTo>
                    <a:lnTo>
                      <a:pt x="104" y="45"/>
                    </a:lnTo>
                    <a:lnTo>
                      <a:pt x="107" y="48"/>
                    </a:lnTo>
                    <a:lnTo>
                      <a:pt x="108" y="54"/>
                    </a:lnTo>
                    <a:lnTo>
                      <a:pt x="108" y="60"/>
                    </a:lnTo>
                    <a:lnTo>
                      <a:pt x="107" y="66"/>
                    </a:lnTo>
                    <a:lnTo>
                      <a:pt x="105" y="71"/>
                    </a:lnTo>
                    <a:lnTo>
                      <a:pt x="101" y="76"/>
                    </a:lnTo>
                    <a:lnTo>
                      <a:pt x="96" y="79"/>
                    </a:lnTo>
                    <a:lnTo>
                      <a:pt x="92" y="82"/>
                    </a:lnTo>
                    <a:lnTo>
                      <a:pt x="92" y="82"/>
                    </a:lnTo>
                    <a:lnTo>
                      <a:pt x="96" y="83"/>
                    </a:lnTo>
                    <a:lnTo>
                      <a:pt x="99" y="86"/>
                    </a:lnTo>
                    <a:lnTo>
                      <a:pt x="102" y="91"/>
                    </a:lnTo>
                    <a:lnTo>
                      <a:pt x="104" y="95"/>
                    </a:lnTo>
                    <a:lnTo>
                      <a:pt x="105" y="103"/>
                    </a:lnTo>
                    <a:lnTo>
                      <a:pt x="107" y="110"/>
                    </a:lnTo>
                    <a:lnTo>
                      <a:pt x="108" y="115"/>
                    </a:lnTo>
                    <a:lnTo>
                      <a:pt x="110" y="119"/>
                    </a:lnTo>
                    <a:lnTo>
                      <a:pt x="110" y="122"/>
                    </a:lnTo>
                    <a:lnTo>
                      <a:pt x="111" y="124"/>
                    </a:lnTo>
                    <a:lnTo>
                      <a:pt x="96" y="124"/>
                    </a:lnTo>
                    <a:lnTo>
                      <a:pt x="95" y="121"/>
                    </a:lnTo>
                    <a:lnTo>
                      <a:pt x="93" y="116"/>
                    </a:lnTo>
                    <a:lnTo>
                      <a:pt x="92" y="110"/>
                    </a:lnTo>
                    <a:lnTo>
                      <a:pt x="92" y="103"/>
                    </a:lnTo>
                    <a:lnTo>
                      <a:pt x="89" y="97"/>
                    </a:lnTo>
                    <a:lnTo>
                      <a:pt x="87" y="92"/>
                    </a:lnTo>
                    <a:lnTo>
                      <a:pt x="83" y="89"/>
                    </a:lnTo>
                    <a:lnTo>
                      <a:pt x="78" y="88"/>
                    </a:lnTo>
                    <a:lnTo>
                      <a:pt x="72" y="86"/>
                    </a:lnTo>
                    <a:lnTo>
                      <a:pt x="63" y="86"/>
                    </a:lnTo>
                    <a:lnTo>
                      <a:pt x="63" y="124"/>
                    </a:lnTo>
                    <a:lnTo>
                      <a:pt x="48" y="124"/>
                    </a:lnTo>
                    <a:lnTo>
                      <a:pt x="48" y="38"/>
                    </a:lnTo>
                    <a:lnTo>
                      <a:pt x="60" y="36"/>
                    </a:lnTo>
                    <a:lnTo>
                      <a:pt x="74" y="35"/>
                    </a:lnTo>
                    <a:close/>
                    <a:moveTo>
                      <a:pt x="77" y="12"/>
                    </a:moveTo>
                    <a:lnTo>
                      <a:pt x="57" y="17"/>
                    </a:lnTo>
                    <a:lnTo>
                      <a:pt x="40" y="26"/>
                    </a:lnTo>
                    <a:lnTo>
                      <a:pt x="27" y="39"/>
                    </a:lnTo>
                    <a:lnTo>
                      <a:pt x="18" y="57"/>
                    </a:lnTo>
                    <a:lnTo>
                      <a:pt x="15" y="79"/>
                    </a:lnTo>
                    <a:lnTo>
                      <a:pt x="18" y="100"/>
                    </a:lnTo>
                    <a:lnTo>
                      <a:pt x="27" y="118"/>
                    </a:lnTo>
                    <a:lnTo>
                      <a:pt x="40" y="133"/>
                    </a:lnTo>
                    <a:lnTo>
                      <a:pt x="57" y="142"/>
                    </a:lnTo>
                    <a:lnTo>
                      <a:pt x="78" y="145"/>
                    </a:lnTo>
                    <a:lnTo>
                      <a:pt x="98" y="142"/>
                    </a:lnTo>
                    <a:lnTo>
                      <a:pt x="114" y="133"/>
                    </a:lnTo>
                    <a:lnTo>
                      <a:pt x="128" y="118"/>
                    </a:lnTo>
                    <a:lnTo>
                      <a:pt x="137" y="100"/>
                    </a:lnTo>
                    <a:lnTo>
                      <a:pt x="140" y="79"/>
                    </a:lnTo>
                    <a:lnTo>
                      <a:pt x="137" y="57"/>
                    </a:lnTo>
                    <a:lnTo>
                      <a:pt x="128" y="39"/>
                    </a:lnTo>
                    <a:lnTo>
                      <a:pt x="114" y="26"/>
                    </a:lnTo>
                    <a:lnTo>
                      <a:pt x="98" y="17"/>
                    </a:lnTo>
                    <a:lnTo>
                      <a:pt x="78" y="12"/>
                    </a:lnTo>
                    <a:lnTo>
                      <a:pt x="77" y="12"/>
                    </a:lnTo>
                    <a:close/>
                    <a:moveTo>
                      <a:pt x="77" y="0"/>
                    </a:moveTo>
                    <a:lnTo>
                      <a:pt x="78" y="0"/>
                    </a:lnTo>
                    <a:lnTo>
                      <a:pt x="102" y="5"/>
                    </a:lnTo>
                    <a:lnTo>
                      <a:pt x="123" y="15"/>
                    </a:lnTo>
                    <a:lnTo>
                      <a:pt x="140" y="33"/>
                    </a:lnTo>
                    <a:lnTo>
                      <a:pt x="151" y="54"/>
                    </a:lnTo>
                    <a:lnTo>
                      <a:pt x="154" y="79"/>
                    </a:lnTo>
                    <a:lnTo>
                      <a:pt x="151" y="104"/>
                    </a:lnTo>
                    <a:lnTo>
                      <a:pt x="140" y="125"/>
                    </a:lnTo>
                    <a:lnTo>
                      <a:pt x="123" y="142"/>
                    </a:lnTo>
                    <a:lnTo>
                      <a:pt x="102" y="154"/>
                    </a:lnTo>
                    <a:lnTo>
                      <a:pt x="77" y="157"/>
                    </a:lnTo>
                    <a:lnTo>
                      <a:pt x="52" y="154"/>
                    </a:lnTo>
                    <a:lnTo>
                      <a:pt x="31" y="142"/>
                    </a:lnTo>
                    <a:lnTo>
                      <a:pt x="15" y="125"/>
                    </a:lnTo>
                    <a:lnTo>
                      <a:pt x="4" y="104"/>
                    </a:lnTo>
                    <a:lnTo>
                      <a:pt x="0" y="79"/>
                    </a:lnTo>
                    <a:lnTo>
                      <a:pt x="4" y="54"/>
                    </a:lnTo>
                    <a:lnTo>
                      <a:pt x="15" y="33"/>
                    </a:lnTo>
                    <a:lnTo>
                      <a:pt x="31" y="15"/>
                    </a:lnTo>
                    <a:lnTo>
                      <a:pt x="52" y="5"/>
                    </a:lnTo>
                    <a:lnTo>
                      <a:pt x="7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1" name="Rectangle 34">
              <a:extLst>
                <a:ext uri="{FF2B5EF4-FFF2-40B4-BE49-F238E27FC236}">
                  <a16:creationId xmlns="" xmlns:a16="http://schemas.microsoft.com/office/drawing/2014/main" id="{7B874B59-203A-4FFE-BBD7-2305E3053099}"/>
                </a:ext>
              </a:extLst>
            </p:cNvPr>
            <p:cNvSpPr>
              <a:spLocks noChangeArrowheads="1"/>
            </p:cNvSpPr>
            <p:nvPr userDrawn="1"/>
          </p:nvSpPr>
          <p:spPr bwMode="auto">
            <a:xfrm>
              <a:off x="6099535" y="1505599"/>
              <a:ext cx="33308" cy="2385103"/>
            </a:xfrm>
            <a:prstGeom prst="rect">
              <a:avLst/>
            </a:prstGeom>
            <a:solidFill>
              <a:schemeClr val="tx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83" name="Picture 82">
              <a:extLst>
                <a:ext uri="{FF2B5EF4-FFF2-40B4-BE49-F238E27FC236}">
                  <a16:creationId xmlns="" xmlns:a16="http://schemas.microsoft.com/office/drawing/2014/main" id="{83B39DF6-34C9-4EAD-836A-383CDF0D27F5}"/>
                </a:ext>
              </a:extLst>
            </p:cNvPr>
            <p:cNvPicPr>
              <a:picLocks noChangeAspect="1"/>
            </p:cNvPicPr>
            <p:nvPr userDrawn="1"/>
          </p:nvPicPr>
          <p:blipFill>
            <a:blip r:embed="rId2"/>
            <a:stretch>
              <a:fillRect/>
            </a:stretch>
          </p:blipFill>
          <p:spPr>
            <a:xfrm>
              <a:off x="2509594" y="1483313"/>
              <a:ext cx="2436117" cy="2429568"/>
            </a:xfrm>
            <a:prstGeom prst="rect">
              <a:avLst/>
            </a:prstGeom>
          </p:spPr>
        </p:pic>
      </p:grpSp>
    </p:spTree>
    <p:extLst>
      <p:ext uri="{BB962C8B-B14F-4D97-AF65-F5344CB8AC3E}">
        <p14:creationId xmlns:p14="http://schemas.microsoft.com/office/powerpoint/2010/main" val="3065338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A">
    <p:spTree>
      <p:nvGrpSpPr>
        <p:cNvPr id="1" name=""/>
        <p:cNvGrpSpPr/>
        <p:nvPr/>
      </p:nvGrpSpPr>
      <p:grpSpPr>
        <a:xfrm>
          <a:off x="0" y="0"/>
          <a:ext cx="0" cy="0"/>
          <a:chOff x="0" y="0"/>
          <a:chExt cx="0" cy="0"/>
        </a:xfrm>
      </p:grpSpPr>
      <p:sp>
        <p:nvSpPr>
          <p:cNvPr id="3" name="Rectangle 2"/>
          <p:cNvSpPr/>
          <p:nvPr userDrawn="1"/>
        </p:nvSpPr>
        <p:spPr>
          <a:xfrm>
            <a:off x="174928" y="3868"/>
            <a:ext cx="12221501"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Picture Placeholder 16"/>
          <p:cNvSpPr>
            <a:spLocks noGrp="1"/>
          </p:cNvSpPr>
          <p:nvPr>
            <p:ph type="pic" sz="quarter" idx="10" hasCustomPrompt="1"/>
          </p:nvPr>
        </p:nvSpPr>
        <p:spPr>
          <a:xfrm>
            <a:off x="6093338" y="2330450"/>
            <a:ext cx="2991344" cy="4527550"/>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18" name="Picture Placeholder 16"/>
          <p:cNvSpPr>
            <a:spLocks noGrp="1"/>
          </p:cNvSpPr>
          <p:nvPr>
            <p:ph type="pic" sz="quarter" idx="11" hasCustomPrompt="1"/>
          </p:nvPr>
        </p:nvSpPr>
        <p:spPr>
          <a:xfrm>
            <a:off x="9193833" y="-7233"/>
            <a:ext cx="3202596" cy="6865144"/>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t>
            </a:r>
            <a:br>
              <a:rPr lang="en-US" dirty="0"/>
            </a:br>
            <a:r>
              <a:rPr lang="en-US" dirty="0"/>
              <a:t>Add Image</a:t>
            </a:r>
          </a:p>
        </p:txBody>
      </p:sp>
      <p:sp>
        <p:nvSpPr>
          <p:cNvPr id="11" name="Shape 344"/>
          <p:cNvSpPr/>
          <p:nvPr userDrawn="1"/>
        </p:nvSpPr>
        <p:spPr>
          <a:xfrm>
            <a:off x="6095933" y="0"/>
            <a:ext cx="2988748" cy="2209800"/>
          </a:xfrm>
          <a:custGeom>
            <a:avLst/>
            <a:gdLst/>
            <a:ahLst/>
            <a:cxnLst/>
            <a:rect l="0" t="0" r="0" b="0"/>
            <a:pathLst>
              <a:path w="120000" h="120000" extrusionOk="0">
                <a:moveTo>
                  <a:pt x="0" y="0"/>
                </a:moveTo>
                <a:lnTo>
                  <a:pt x="120000" y="0"/>
                </a:lnTo>
                <a:lnTo>
                  <a:pt x="120000" y="120000"/>
                </a:lnTo>
                <a:lnTo>
                  <a:pt x="0" y="120000"/>
                </a:ln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8100000" scaled="1"/>
            <a:tileRect/>
          </a:gradFill>
          <a:ln>
            <a:noFill/>
          </a:ln>
          <a:effectLst/>
        </p:spPr>
      </p:sp>
      <p:sp>
        <p:nvSpPr>
          <p:cNvPr id="15" name="Shape 517"/>
          <p:cNvSpPr/>
          <p:nvPr userDrawn="1"/>
        </p:nvSpPr>
        <p:spPr>
          <a:xfrm rot="16200000">
            <a:off x="6967647" y="538996"/>
            <a:ext cx="1245320" cy="1131808"/>
          </a:xfrm>
          <a:custGeom>
            <a:avLst/>
            <a:gdLst/>
            <a:ahLst/>
            <a:cxnLst/>
            <a:rect l="0" t="0" r="0" b="0"/>
            <a:pathLst>
              <a:path w="120000" h="120000" extrusionOk="0">
                <a:moveTo>
                  <a:pt x="35418" y="119999"/>
                </a:moveTo>
                <a:lnTo>
                  <a:pt x="35418" y="119999"/>
                </a:lnTo>
                <a:lnTo>
                  <a:pt x="34778" y="119999"/>
                </a:lnTo>
                <a:lnTo>
                  <a:pt x="34088" y="119912"/>
                </a:lnTo>
                <a:lnTo>
                  <a:pt x="32660" y="119516"/>
                </a:lnTo>
                <a:lnTo>
                  <a:pt x="31379" y="119033"/>
                </a:lnTo>
                <a:lnTo>
                  <a:pt x="30049" y="118243"/>
                </a:lnTo>
                <a:lnTo>
                  <a:pt x="28817" y="117320"/>
                </a:lnTo>
                <a:lnTo>
                  <a:pt x="27684" y="116266"/>
                </a:lnTo>
                <a:lnTo>
                  <a:pt x="26699" y="115168"/>
                </a:lnTo>
                <a:lnTo>
                  <a:pt x="26256" y="114465"/>
                </a:lnTo>
                <a:lnTo>
                  <a:pt x="25911" y="113894"/>
                </a:lnTo>
                <a:lnTo>
                  <a:pt x="1330" y="66105"/>
                </a:lnTo>
                <a:lnTo>
                  <a:pt x="1330" y="66105"/>
                </a:lnTo>
                <a:lnTo>
                  <a:pt x="1034" y="65534"/>
                </a:lnTo>
                <a:lnTo>
                  <a:pt x="788" y="64831"/>
                </a:lnTo>
                <a:lnTo>
                  <a:pt x="344" y="63250"/>
                </a:lnTo>
                <a:lnTo>
                  <a:pt x="98" y="61669"/>
                </a:lnTo>
                <a:lnTo>
                  <a:pt x="0" y="59999"/>
                </a:lnTo>
                <a:lnTo>
                  <a:pt x="98" y="58330"/>
                </a:lnTo>
                <a:lnTo>
                  <a:pt x="344" y="56749"/>
                </a:lnTo>
                <a:lnTo>
                  <a:pt x="788" y="55168"/>
                </a:lnTo>
                <a:lnTo>
                  <a:pt x="1034" y="54465"/>
                </a:lnTo>
                <a:lnTo>
                  <a:pt x="1330" y="53894"/>
                </a:lnTo>
                <a:lnTo>
                  <a:pt x="25911" y="6105"/>
                </a:lnTo>
                <a:lnTo>
                  <a:pt x="25911" y="6105"/>
                </a:lnTo>
                <a:lnTo>
                  <a:pt x="26256" y="5534"/>
                </a:lnTo>
                <a:lnTo>
                  <a:pt x="26699" y="4831"/>
                </a:lnTo>
                <a:lnTo>
                  <a:pt x="27684" y="3733"/>
                </a:lnTo>
                <a:lnTo>
                  <a:pt x="28817" y="2679"/>
                </a:lnTo>
                <a:lnTo>
                  <a:pt x="30049" y="1756"/>
                </a:lnTo>
                <a:lnTo>
                  <a:pt x="31379" y="966"/>
                </a:lnTo>
                <a:lnTo>
                  <a:pt x="32660" y="395"/>
                </a:lnTo>
                <a:lnTo>
                  <a:pt x="34088" y="87"/>
                </a:lnTo>
                <a:lnTo>
                  <a:pt x="34778" y="0"/>
                </a:lnTo>
                <a:lnTo>
                  <a:pt x="35418" y="0"/>
                </a:lnTo>
                <a:lnTo>
                  <a:pt x="84581" y="0"/>
                </a:lnTo>
                <a:lnTo>
                  <a:pt x="84581" y="0"/>
                </a:lnTo>
                <a:lnTo>
                  <a:pt x="85221" y="0"/>
                </a:lnTo>
                <a:lnTo>
                  <a:pt x="85911" y="87"/>
                </a:lnTo>
                <a:lnTo>
                  <a:pt x="87339" y="395"/>
                </a:lnTo>
                <a:lnTo>
                  <a:pt x="88620" y="966"/>
                </a:lnTo>
                <a:lnTo>
                  <a:pt x="89950" y="1756"/>
                </a:lnTo>
                <a:lnTo>
                  <a:pt x="91182" y="2679"/>
                </a:lnTo>
                <a:lnTo>
                  <a:pt x="92315" y="3733"/>
                </a:lnTo>
                <a:lnTo>
                  <a:pt x="93300" y="4831"/>
                </a:lnTo>
                <a:lnTo>
                  <a:pt x="93743" y="5534"/>
                </a:lnTo>
                <a:lnTo>
                  <a:pt x="94088" y="6105"/>
                </a:lnTo>
                <a:lnTo>
                  <a:pt x="118669" y="53894"/>
                </a:lnTo>
                <a:lnTo>
                  <a:pt x="118669" y="53894"/>
                </a:lnTo>
                <a:lnTo>
                  <a:pt x="118965" y="54465"/>
                </a:lnTo>
                <a:lnTo>
                  <a:pt x="119211" y="55168"/>
                </a:lnTo>
                <a:lnTo>
                  <a:pt x="119655" y="56749"/>
                </a:lnTo>
                <a:lnTo>
                  <a:pt x="119901" y="58330"/>
                </a:lnTo>
                <a:lnTo>
                  <a:pt x="120000" y="59999"/>
                </a:lnTo>
                <a:lnTo>
                  <a:pt x="119901" y="61669"/>
                </a:lnTo>
                <a:lnTo>
                  <a:pt x="119655" y="63250"/>
                </a:lnTo>
                <a:lnTo>
                  <a:pt x="119211" y="64831"/>
                </a:lnTo>
                <a:lnTo>
                  <a:pt x="118965" y="65534"/>
                </a:lnTo>
                <a:lnTo>
                  <a:pt x="118669" y="66105"/>
                </a:lnTo>
                <a:lnTo>
                  <a:pt x="94088" y="113894"/>
                </a:lnTo>
                <a:lnTo>
                  <a:pt x="94088" y="113894"/>
                </a:lnTo>
                <a:lnTo>
                  <a:pt x="93743" y="114465"/>
                </a:lnTo>
                <a:lnTo>
                  <a:pt x="93300" y="115168"/>
                </a:lnTo>
                <a:lnTo>
                  <a:pt x="92315" y="116266"/>
                </a:lnTo>
                <a:lnTo>
                  <a:pt x="91182" y="117320"/>
                </a:lnTo>
                <a:lnTo>
                  <a:pt x="89950" y="118243"/>
                </a:lnTo>
                <a:lnTo>
                  <a:pt x="88620" y="119033"/>
                </a:lnTo>
                <a:lnTo>
                  <a:pt x="87339" y="119516"/>
                </a:lnTo>
                <a:lnTo>
                  <a:pt x="85911" y="119912"/>
                </a:lnTo>
                <a:lnTo>
                  <a:pt x="85221" y="119999"/>
                </a:lnTo>
                <a:lnTo>
                  <a:pt x="84581" y="119999"/>
                </a:lnTo>
                <a:lnTo>
                  <a:pt x="35418" y="119999"/>
                </a:lnTo>
                <a:close/>
              </a:path>
            </a:pathLst>
          </a:custGeom>
          <a:noFill/>
          <a:ln w="19050">
            <a:solidFill>
              <a:schemeClr val="bg1"/>
            </a:solidFill>
          </a:ln>
        </p:spPr>
        <p:txBody>
          <a:bodyPr wrap="square" lIns="91425" tIns="45700" rIns="91425" bIns="45700" anchor="ctr" anchorCtr="0">
            <a:noAutofit/>
          </a:bodyPr>
          <a:lstStyle/>
          <a:p>
            <a:pPr marL="0" marR="0" lvl="0" indent="0" algn="ctr" rtl="0">
              <a:spcBef>
                <a:spcPts val="0"/>
              </a:spcBef>
              <a:buNone/>
            </a:pPr>
            <a:endParaRPr sz="2700" dirty="0">
              <a:solidFill>
                <a:schemeClr val="lt1"/>
              </a:solidFill>
              <a:latin typeface="Nunito Light"/>
              <a:ea typeface="Nunito Light"/>
              <a:cs typeface="Nunito Light"/>
              <a:sym typeface="Nunito Light"/>
            </a:endParaRPr>
          </a:p>
        </p:txBody>
      </p:sp>
      <p:sp>
        <p:nvSpPr>
          <p:cNvPr id="19" name="Title 1"/>
          <p:cNvSpPr>
            <a:spLocks noGrp="1"/>
          </p:cNvSpPr>
          <p:nvPr>
            <p:ph type="title" hasCustomPrompt="1"/>
          </p:nvPr>
        </p:nvSpPr>
        <p:spPr>
          <a:xfrm>
            <a:off x="599400" y="1322950"/>
            <a:ext cx="5030123" cy="1168972"/>
          </a:xfrm>
        </p:spPr>
        <p:txBody>
          <a:bodyPr anchor="b"/>
          <a:lstStyle>
            <a:lvl1pPr algn="l">
              <a:lnSpc>
                <a:spcPct val="100000"/>
              </a:lnSpc>
              <a:defRPr sz="4400">
                <a:solidFill>
                  <a:schemeClr val="tx1">
                    <a:lumMod val="85000"/>
                    <a:lumOff val="15000"/>
                  </a:schemeClr>
                </a:solidFill>
              </a:defRPr>
            </a:lvl1pPr>
          </a:lstStyle>
          <a:p>
            <a:r>
              <a:rPr lang="en-US" dirty="0"/>
              <a:t>Image and Title</a:t>
            </a:r>
            <a:br>
              <a:rPr lang="en-US" dirty="0"/>
            </a:br>
            <a:r>
              <a:rPr lang="en-US" dirty="0"/>
              <a:t>Headline Goes Here</a:t>
            </a:r>
          </a:p>
        </p:txBody>
      </p:sp>
      <p:sp>
        <p:nvSpPr>
          <p:cNvPr id="20" name="Text Placeholder 3"/>
          <p:cNvSpPr>
            <a:spLocks noGrp="1"/>
          </p:cNvSpPr>
          <p:nvPr>
            <p:ph type="body" sz="quarter" idx="12" hasCustomPrompt="1"/>
          </p:nvPr>
        </p:nvSpPr>
        <p:spPr>
          <a:xfrm>
            <a:off x="600075" y="2591267"/>
            <a:ext cx="5029505" cy="2304583"/>
          </a:xfrm>
        </p:spPr>
        <p:txBody>
          <a:bodyPr>
            <a:noAutofit/>
          </a:bodyPr>
          <a:lstStyle>
            <a:lvl1pPr marL="0" indent="0" algn="l">
              <a:buFontTx/>
              <a:buNone/>
              <a:defRPr sz="1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err="1"/>
              <a:t>Mea</a:t>
            </a:r>
            <a:r>
              <a:rPr lang="en-US" dirty="0"/>
              <a:t> cu case </a:t>
            </a:r>
            <a:r>
              <a:rPr lang="en-US" dirty="0" err="1"/>
              <a:t>ludus</a:t>
            </a:r>
            <a:r>
              <a:rPr lang="en-US" dirty="0"/>
              <a:t> </a:t>
            </a:r>
            <a:r>
              <a:rPr lang="en-US" dirty="0" err="1"/>
              <a:t>integre</a:t>
            </a:r>
            <a:r>
              <a:rPr lang="en-US" dirty="0"/>
              <a:t>, vide </a:t>
            </a:r>
            <a:r>
              <a:rPr lang="en-US" dirty="0" err="1"/>
              <a:t>viderer</a:t>
            </a:r>
            <a:r>
              <a:rPr lang="en-US" dirty="0"/>
              <a:t> </a:t>
            </a:r>
            <a:r>
              <a:rPr lang="en-US" dirty="0" err="1"/>
              <a:t>eleifend</a:t>
            </a:r>
            <a:r>
              <a:rPr lang="en-US" dirty="0"/>
              <a:t> ex </a:t>
            </a:r>
            <a:r>
              <a:rPr lang="en-US" dirty="0" err="1"/>
              <a:t>mea</a:t>
            </a:r>
            <a:r>
              <a:rPr lang="en-US" dirty="0"/>
              <a:t>. His at </a:t>
            </a:r>
            <a:r>
              <a:rPr lang="en-US" dirty="0" err="1"/>
              <a:t>soluta</a:t>
            </a:r>
            <a:r>
              <a:rPr lang="en-US" dirty="0"/>
              <a:t> </a:t>
            </a:r>
            <a:r>
              <a:rPr lang="en-US" dirty="0" err="1"/>
              <a:t>regione</a:t>
            </a:r>
            <a:r>
              <a:rPr lang="en-US" dirty="0"/>
              <a:t> </a:t>
            </a:r>
            <a:r>
              <a:rPr lang="en-US" dirty="0" err="1"/>
              <a:t>diceret</a:t>
            </a:r>
            <a:r>
              <a:rPr lang="en-US" dirty="0"/>
              <a:t>, cum et </a:t>
            </a:r>
            <a:r>
              <a:rPr lang="en-US" dirty="0" err="1"/>
              <a:t>atqui</a:t>
            </a:r>
            <a:r>
              <a:rPr lang="en-US" dirty="0"/>
              <a:t> </a:t>
            </a:r>
            <a:r>
              <a:rPr lang="en-US" dirty="0" err="1"/>
              <a:t>placerat</a:t>
            </a:r>
            <a:r>
              <a:rPr lang="en-US" dirty="0"/>
              <a:t> </a:t>
            </a:r>
            <a:r>
              <a:rPr lang="en-US" dirty="0" err="1"/>
              <a:t>petentium</a:t>
            </a:r>
            <a:r>
              <a:rPr lang="en-US" dirty="0"/>
              <a:t>. Per </a:t>
            </a:r>
            <a:r>
              <a:rPr lang="en-US" dirty="0" err="1"/>
              <a:t>amet</a:t>
            </a:r>
            <a:r>
              <a:rPr lang="en-US" dirty="0"/>
              <a:t> </a:t>
            </a:r>
            <a:r>
              <a:rPr lang="en-US" dirty="0" err="1"/>
              <a:t>nonumy</a:t>
            </a:r>
            <a:r>
              <a:rPr lang="en-US" dirty="0"/>
              <a:t> </a:t>
            </a:r>
            <a:r>
              <a:rPr lang="en-US" dirty="0" err="1"/>
              <a:t>periculis</a:t>
            </a:r>
            <a:r>
              <a:rPr lang="en-US" dirty="0"/>
              <a:t> </a:t>
            </a:r>
            <a:r>
              <a:rPr lang="en-US" dirty="0" err="1"/>
              <a:t>ei</a:t>
            </a:r>
            <a:r>
              <a:rPr lang="en-US" dirty="0"/>
              <a:t>. </a:t>
            </a:r>
            <a:r>
              <a:rPr lang="en-US" dirty="0" err="1"/>
              <a:t>Deleniti</a:t>
            </a:r>
            <a:r>
              <a:rPr lang="en-US" dirty="0"/>
              <a:t> and </a:t>
            </a:r>
            <a:r>
              <a:rPr lang="en-US" dirty="0" err="1"/>
              <a:t>apeirian</a:t>
            </a:r>
            <a:r>
              <a:rPr lang="en-US" dirty="0"/>
              <a:t> </a:t>
            </a:r>
            <a:r>
              <a:rPr lang="en-US" dirty="0" err="1"/>
              <a:t>temporibus</a:t>
            </a:r>
            <a:r>
              <a:rPr lang="en-US" dirty="0"/>
              <a:t> </a:t>
            </a:r>
            <a:r>
              <a:rPr lang="en-US" dirty="0" err="1"/>
              <a:t>eam</a:t>
            </a:r>
            <a:r>
              <a:rPr lang="en-US" dirty="0"/>
              <a:t> cu.</a:t>
            </a:r>
          </a:p>
        </p:txBody>
      </p:sp>
    </p:spTree>
    <p:extLst>
      <p:ext uri="{BB962C8B-B14F-4D97-AF65-F5344CB8AC3E}">
        <p14:creationId xmlns:p14="http://schemas.microsoft.com/office/powerpoint/2010/main" val="6298565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B">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nvPr>
        </p:nvSpPr>
        <p:spPr>
          <a:xfrm>
            <a:off x="1970561" y="1326770"/>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18" name="Picture Placeholder 16"/>
          <p:cNvSpPr>
            <a:spLocks noGrp="1"/>
          </p:cNvSpPr>
          <p:nvPr>
            <p:ph type="pic" sz="quarter" idx="13" hasCustomPrompt="1"/>
          </p:nvPr>
        </p:nvSpPr>
        <p:spPr>
          <a:xfrm>
            <a:off x="4783258" y="1326770"/>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19" name="Picture Placeholder 16"/>
          <p:cNvSpPr>
            <a:spLocks noGrp="1"/>
          </p:cNvSpPr>
          <p:nvPr>
            <p:ph type="pic" sz="quarter" idx="14" hasCustomPrompt="1"/>
          </p:nvPr>
        </p:nvSpPr>
        <p:spPr>
          <a:xfrm>
            <a:off x="7595956" y="1326770"/>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0" name="Picture Placeholder 16"/>
          <p:cNvSpPr>
            <a:spLocks noGrp="1"/>
          </p:cNvSpPr>
          <p:nvPr>
            <p:ph type="pic" sz="quarter" idx="15" hasCustomPrompt="1"/>
          </p:nvPr>
        </p:nvSpPr>
        <p:spPr>
          <a:xfrm>
            <a:off x="1970561" y="3235083"/>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1" name="Picture Placeholder 16"/>
          <p:cNvSpPr>
            <a:spLocks noGrp="1"/>
          </p:cNvSpPr>
          <p:nvPr>
            <p:ph type="pic" sz="quarter" idx="16" hasCustomPrompt="1"/>
          </p:nvPr>
        </p:nvSpPr>
        <p:spPr>
          <a:xfrm>
            <a:off x="4783258" y="3235083"/>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2" name="Picture Placeholder 16"/>
          <p:cNvSpPr>
            <a:spLocks noGrp="1"/>
          </p:cNvSpPr>
          <p:nvPr>
            <p:ph type="pic" sz="quarter" idx="17" hasCustomPrompt="1"/>
          </p:nvPr>
        </p:nvSpPr>
        <p:spPr>
          <a:xfrm>
            <a:off x="7595956" y="3235083"/>
            <a:ext cx="2732329" cy="1829548"/>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16" name="Text Placeholder 3"/>
          <p:cNvSpPr>
            <a:spLocks noGrp="1"/>
          </p:cNvSpPr>
          <p:nvPr>
            <p:ph type="body" sz="quarter" idx="12" hasCustomPrompt="1"/>
          </p:nvPr>
        </p:nvSpPr>
        <p:spPr>
          <a:xfrm>
            <a:off x="1970561" y="5421806"/>
            <a:ext cx="8406352" cy="1058508"/>
          </a:xfrm>
        </p:spPr>
        <p:txBody>
          <a:bodyPr>
            <a:noAutofit/>
          </a:bodyPr>
          <a:lstStyle>
            <a:lvl1pPr marL="0" marR="0" indent="0" algn="ctr" rtl="0">
              <a:lnSpc>
                <a:spcPts val="2300"/>
              </a:lnSpc>
              <a:spcBef>
                <a:spcPts val="0"/>
              </a:spcBef>
              <a:buSzPct val="25000"/>
              <a:buFontTx/>
              <a:buNone/>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ts val="2300"/>
              </a:lnSpc>
              <a:spcBef>
                <a:spcPts val="0"/>
              </a:spcBef>
              <a:buSzPct val="25000"/>
              <a:buNone/>
            </a:pP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His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endPar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Tree>
    <p:extLst>
      <p:ext uri="{BB962C8B-B14F-4D97-AF65-F5344CB8AC3E}">
        <p14:creationId xmlns:p14="http://schemas.microsoft.com/office/powerpoint/2010/main" val="2803199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C">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nvPr>
        </p:nvSpPr>
        <p:spPr>
          <a:xfrm>
            <a:off x="764949" y="1311964"/>
            <a:ext cx="3497443" cy="2710733"/>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6" name="Picture Placeholder 16"/>
          <p:cNvSpPr>
            <a:spLocks noGrp="1"/>
          </p:cNvSpPr>
          <p:nvPr>
            <p:ph type="pic" sz="quarter" idx="13" hasCustomPrompt="1"/>
          </p:nvPr>
        </p:nvSpPr>
        <p:spPr>
          <a:xfrm>
            <a:off x="4377835" y="1311964"/>
            <a:ext cx="3497443" cy="2710733"/>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7" name="Picture Placeholder 16"/>
          <p:cNvSpPr>
            <a:spLocks noGrp="1"/>
          </p:cNvSpPr>
          <p:nvPr>
            <p:ph type="pic" sz="quarter" idx="14" hasCustomPrompt="1"/>
          </p:nvPr>
        </p:nvSpPr>
        <p:spPr>
          <a:xfrm>
            <a:off x="7990720" y="1311964"/>
            <a:ext cx="3497443" cy="2710733"/>
          </a:xfrm>
          <a:solidFill>
            <a:schemeClr val="accent4">
              <a:lumMod val="20000"/>
              <a:lumOff val="80000"/>
            </a:schemeClr>
          </a:solidFill>
          <a:ln>
            <a:noFill/>
          </a:ln>
        </p:spPr>
        <p:txBody>
          <a:bodyPr anchor="ctr"/>
          <a:lstStyle>
            <a:lvl1pPr marL="0" indent="0" algn="ctr">
              <a:buFontTx/>
              <a:buNone/>
              <a:defRPr sz="1800">
                <a:solidFill>
                  <a:schemeClr val="accent4"/>
                </a:solidFill>
              </a:defRPr>
            </a:lvl1pPr>
          </a:lstStyle>
          <a:p>
            <a:r>
              <a:rPr lang="en-US" dirty="0"/>
              <a:t>Click to Add</a:t>
            </a:r>
            <a:br>
              <a:rPr lang="en-US" dirty="0"/>
            </a:br>
            <a:r>
              <a:rPr lang="en-US" dirty="0"/>
              <a:t>Image</a:t>
            </a:r>
          </a:p>
        </p:txBody>
      </p:sp>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36" name="Text Placeholder 3"/>
          <p:cNvSpPr>
            <a:spLocks noGrp="1"/>
          </p:cNvSpPr>
          <p:nvPr>
            <p:ph type="body" sz="quarter" idx="12" hasCustomPrompt="1"/>
          </p:nvPr>
        </p:nvSpPr>
        <p:spPr>
          <a:xfrm>
            <a:off x="804704"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7" name="Text Placeholder 3"/>
          <p:cNvSpPr>
            <a:spLocks noGrp="1"/>
          </p:cNvSpPr>
          <p:nvPr>
            <p:ph type="body" sz="quarter" idx="15" hasCustomPrompt="1"/>
          </p:nvPr>
        </p:nvSpPr>
        <p:spPr>
          <a:xfrm>
            <a:off x="804704" y="4022698"/>
            <a:ext cx="3441291" cy="712430"/>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405911"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9" name="Text Placeholder 3"/>
          <p:cNvSpPr>
            <a:spLocks noGrp="1"/>
          </p:cNvSpPr>
          <p:nvPr>
            <p:ph type="body" sz="quarter" idx="17" hasCustomPrompt="1"/>
          </p:nvPr>
        </p:nvSpPr>
        <p:spPr>
          <a:xfrm>
            <a:off x="4405911" y="4022698"/>
            <a:ext cx="3441291" cy="712430"/>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018796"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41" name="Text Placeholder 3"/>
          <p:cNvSpPr>
            <a:spLocks noGrp="1"/>
          </p:cNvSpPr>
          <p:nvPr>
            <p:ph type="body" sz="quarter" idx="19" hasCustomPrompt="1"/>
          </p:nvPr>
        </p:nvSpPr>
        <p:spPr>
          <a:xfrm>
            <a:off x="8018796" y="4022698"/>
            <a:ext cx="3441291" cy="712430"/>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Tree>
    <p:extLst>
      <p:ext uri="{BB962C8B-B14F-4D97-AF65-F5344CB8AC3E}">
        <p14:creationId xmlns:p14="http://schemas.microsoft.com/office/powerpoint/2010/main" val="1693072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D">
    <p:spTree>
      <p:nvGrpSpPr>
        <p:cNvPr id="1" name=""/>
        <p:cNvGrpSpPr/>
        <p:nvPr/>
      </p:nvGrpSpPr>
      <p:grpSpPr>
        <a:xfrm>
          <a:off x="0" y="0"/>
          <a:ext cx="0" cy="0"/>
          <a:chOff x="0" y="0"/>
          <a:chExt cx="0" cy="0"/>
        </a:xfrm>
      </p:grpSpPr>
      <p:sp>
        <p:nvSpPr>
          <p:cNvPr id="14" name="Rectangle 13"/>
          <p:cNvSpPr/>
          <p:nvPr userDrawn="1"/>
        </p:nvSpPr>
        <p:spPr>
          <a:xfrm>
            <a:off x="0" y="0"/>
            <a:ext cx="12192000"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 name="Rectangle 4"/>
          <p:cNvSpPr/>
          <p:nvPr userDrawn="1"/>
        </p:nvSpPr>
        <p:spPr>
          <a:xfrm>
            <a:off x="0" y="0"/>
            <a:ext cx="12188952" cy="3429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latin typeface="Calibri" panose="020F0502020204030204" pitchFamily="34" charset="0"/>
              <a:cs typeface="Calibri" panose="020F0502020204030204" pitchFamily="34" charset="0"/>
            </a:endParaRPr>
          </a:p>
        </p:txBody>
      </p:sp>
      <p:sp>
        <p:nvSpPr>
          <p:cNvPr id="36" name="Text Placeholder 3"/>
          <p:cNvSpPr>
            <a:spLocks noGrp="1"/>
          </p:cNvSpPr>
          <p:nvPr>
            <p:ph type="body" sz="quarter" idx="12" hasCustomPrompt="1"/>
          </p:nvPr>
        </p:nvSpPr>
        <p:spPr>
          <a:xfrm>
            <a:off x="584600" y="5235391"/>
            <a:ext cx="3441291" cy="708524"/>
          </a:xfrm>
        </p:spPr>
        <p:txBody>
          <a:bodyPr>
            <a:noAutofit/>
          </a:bodyPr>
          <a:lstStyle>
            <a:lvl1pPr marL="0" marR="0" indent="0" algn="ctr" defTabSz="914400" rtl="0" eaLnBrk="1" fontAlgn="auto" latinLnBrk="0" hangingPunct="1">
              <a:lnSpc>
                <a:spcPts val="2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a:t>
            </a:r>
          </a:p>
        </p:txBody>
      </p:sp>
      <p:sp>
        <p:nvSpPr>
          <p:cNvPr id="37" name="Text Placeholder 3"/>
          <p:cNvSpPr>
            <a:spLocks noGrp="1"/>
          </p:cNvSpPr>
          <p:nvPr>
            <p:ph type="body" sz="quarter" idx="15" hasCustomPrompt="1"/>
          </p:nvPr>
        </p:nvSpPr>
        <p:spPr>
          <a:xfrm>
            <a:off x="584600" y="4628498"/>
            <a:ext cx="3441291" cy="520937"/>
          </a:xfrm>
        </p:spPr>
        <p:txBody>
          <a:bodyPr anchor="b"/>
          <a:lstStyle>
            <a:lvl1pPr marL="0" indent="0" algn="ctr">
              <a:lnSpc>
                <a:spcPct val="100000"/>
              </a:lnSpc>
              <a:buFontTx/>
              <a:buNone/>
              <a:defRPr sz="2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390968" y="5235391"/>
            <a:ext cx="3441291" cy="708524"/>
          </a:xfrm>
        </p:spPr>
        <p:txBody>
          <a:bodyPr>
            <a:noAutofit/>
          </a:bodyPr>
          <a:lstStyle>
            <a:lvl1pPr marL="0" marR="0" indent="0" algn="ctr" defTabSz="914400" rtl="0" eaLnBrk="1" fontAlgn="auto" latinLnBrk="0" hangingPunct="1">
              <a:lnSpc>
                <a:spcPts val="2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a:t>
            </a:r>
          </a:p>
        </p:txBody>
      </p:sp>
      <p:sp>
        <p:nvSpPr>
          <p:cNvPr id="39" name="Text Placeholder 3"/>
          <p:cNvSpPr>
            <a:spLocks noGrp="1"/>
          </p:cNvSpPr>
          <p:nvPr>
            <p:ph type="body" sz="quarter" idx="17" hasCustomPrompt="1"/>
          </p:nvPr>
        </p:nvSpPr>
        <p:spPr>
          <a:xfrm>
            <a:off x="4390968" y="4628498"/>
            <a:ext cx="3441291" cy="520937"/>
          </a:xfrm>
        </p:spPr>
        <p:txBody>
          <a:bodyPr anchor="b"/>
          <a:lstStyle>
            <a:lvl1pPr marL="0" indent="0" algn="ctr">
              <a:lnSpc>
                <a:spcPct val="100000"/>
              </a:lnSpc>
              <a:buFontTx/>
              <a:buNone/>
              <a:defRPr sz="2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197337" y="5235391"/>
            <a:ext cx="3441291" cy="708524"/>
          </a:xfrm>
        </p:spPr>
        <p:txBody>
          <a:bodyPr>
            <a:noAutofit/>
          </a:bodyPr>
          <a:lstStyle>
            <a:lvl1pPr marL="0" marR="0" indent="0" algn="ctr" defTabSz="914400" rtl="0" eaLnBrk="1" fontAlgn="auto" latinLnBrk="0" hangingPunct="1">
              <a:lnSpc>
                <a:spcPts val="2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a:t>
            </a:r>
          </a:p>
        </p:txBody>
      </p:sp>
      <p:sp>
        <p:nvSpPr>
          <p:cNvPr id="41" name="Text Placeholder 3"/>
          <p:cNvSpPr>
            <a:spLocks noGrp="1"/>
          </p:cNvSpPr>
          <p:nvPr>
            <p:ph type="body" sz="quarter" idx="19" hasCustomPrompt="1"/>
          </p:nvPr>
        </p:nvSpPr>
        <p:spPr>
          <a:xfrm>
            <a:off x="8197337" y="4628498"/>
            <a:ext cx="3441291" cy="520937"/>
          </a:xfrm>
        </p:spPr>
        <p:txBody>
          <a:bodyPr anchor="b"/>
          <a:lstStyle>
            <a:lvl1pPr marL="0" indent="0" algn="ctr">
              <a:lnSpc>
                <a:spcPct val="100000"/>
              </a:lnSpc>
              <a:buFontTx/>
              <a:buNone/>
              <a:defRPr sz="2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2" name="Title 1"/>
          <p:cNvSpPr>
            <a:spLocks noGrp="1"/>
          </p:cNvSpPr>
          <p:nvPr>
            <p:ph type="title"/>
          </p:nvPr>
        </p:nvSpPr>
        <p:spPr>
          <a:xfrm>
            <a:off x="599400" y="432274"/>
            <a:ext cx="10993200" cy="696811"/>
          </a:xfrm>
        </p:spPr>
        <p:txBody>
          <a:bodyPr anchor="b"/>
          <a:lstStyle>
            <a:lvl1pPr>
              <a:defRPr sz="3800">
                <a:solidFill>
                  <a:schemeClr val="bg1"/>
                </a:solidFill>
              </a:defRPr>
            </a:lvl1pPr>
          </a:lstStyle>
          <a:p>
            <a:r>
              <a:rPr lang="en-US" smtClean="0"/>
              <a:t>Click to edit Master title style</a:t>
            </a:r>
            <a:endParaRPr lang="en-US" dirty="0"/>
          </a:p>
        </p:txBody>
      </p:sp>
      <p:sp>
        <p:nvSpPr>
          <p:cNvPr id="47" name="Text Placeholder 3"/>
          <p:cNvSpPr>
            <a:spLocks noGrp="1"/>
          </p:cNvSpPr>
          <p:nvPr>
            <p:ph type="body" sz="quarter" idx="20" hasCustomPrompt="1"/>
          </p:nvPr>
        </p:nvSpPr>
        <p:spPr>
          <a:xfrm>
            <a:off x="2348285" y="1256304"/>
            <a:ext cx="7495430" cy="771279"/>
          </a:xfrm>
        </p:spPr>
        <p:txBody>
          <a:bodyPr anchor="t"/>
          <a:lstStyle>
            <a:lvl1pPr marL="0" indent="0" algn="ctr">
              <a:lnSpc>
                <a:spcPts val="2200"/>
              </a:lnSpc>
              <a:buFontTx/>
              <a:buNone/>
              <a:defRPr sz="22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Lorem ipsum dolor sit </a:t>
            </a:r>
            <a:r>
              <a:rPr lang="en-US" dirty="0" err="1"/>
              <a:t>amet</a:t>
            </a:r>
            <a:r>
              <a:rPr lang="en-US" dirty="0"/>
              <a:t>, </a:t>
            </a:r>
            <a:r>
              <a:rPr lang="en-US" dirty="0" err="1"/>
              <a:t>feugiat</a:t>
            </a:r>
            <a:r>
              <a:rPr lang="en-US" dirty="0"/>
              <a:t> </a:t>
            </a:r>
            <a:r>
              <a:rPr lang="en-US" dirty="0" err="1"/>
              <a:t>delicata</a:t>
            </a:r>
            <a:r>
              <a:rPr lang="en-US" dirty="0"/>
              <a:t> </a:t>
            </a:r>
            <a:r>
              <a:rPr lang="en-US" dirty="0" err="1"/>
              <a:t>liberavisse</a:t>
            </a:r>
            <a:r>
              <a:rPr lang="en-US" dirty="0"/>
              <a:t> id cum. No quo maiorum </a:t>
            </a:r>
            <a:r>
              <a:rPr lang="en-US" dirty="0" err="1"/>
              <a:t>intelleget</a:t>
            </a:r>
            <a:r>
              <a:rPr lang="en-US" dirty="0"/>
              <a:t>. </a:t>
            </a:r>
            <a:r>
              <a:rPr lang="en-US" dirty="0" err="1"/>
              <a:t>Mea</a:t>
            </a:r>
            <a:r>
              <a:rPr lang="en-US" dirty="0"/>
              <a:t> cu case </a:t>
            </a:r>
            <a:r>
              <a:rPr lang="en-US" dirty="0" err="1"/>
              <a:t>ludus</a:t>
            </a:r>
            <a:r>
              <a:rPr lang="en-US" dirty="0"/>
              <a:t> </a:t>
            </a:r>
            <a:r>
              <a:rPr lang="en-US" dirty="0" err="1"/>
              <a:t>integre</a:t>
            </a:r>
            <a:endParaRPr lang="en-US" dirty="0"/>
          </a:p>
        </p:txBody>
      </p:sp>
    </p:spTree>
    <p:extLst>
      <p:ext uri="{BB962C8B-B14F-4D97-AF65-F5344CB8AC3E}">
        <p14:creationId xmlns:p14="http://schemas.microsoft.com/office/powerpoint/2010/main" val="2818087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E">
    <p:bg>
      <p:bgRef idx="1001">
        <a:schemeClr val="bg1"/>
      </p:bgRef>
    </p:bg>
    <p:spTree>
      <p:nvGrpSpPr>
        <p:cNvPr id="1" name=""/>
        <p:cNvGrpSpPr/>
        <p:nvPr/>
      </p:nvGrpSpPr>
      <p:grpSpPr>
        <a:xfrm>
          <a:off x="0" y="0"/>
          <a:ext cx="0" cy="0"/>
          <a:chOff x="0" y="0"/>
          <a:chExt cx="0" cy="0"/>
        </a:xfrm>
      </p:grpSpPr>
      <p:sp>
        <p:nvSpPr>
          <p:cNvPr id="39" name="Rectangle 38"/>
          <p:cNvSpPr/>
          <p:nvPr userDrawn="1"/>
        </p:nvSpPr>
        <p:spPr>
          <a:xfrm>
            <a:off x="0" y="0"/>
            <a:ext cx="12192000"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8" name="Rectangle 37"/>
          <p:cNvSpPr/>
          <p:nvPr userDrawn="1"/>
        </p:nvSpPr>
        <p:spPr>
          <a:xfrm>
            <a:off x="0" y="0"/>
            <a:ext cx="12188952" cy="6858000"/>
          </a:xfrm>
          <a:prstGeom prst="rect">
            <a:avLst/>
          </a:prstGeom>
          <a:solidFill>
            <a:schemeClr val="tx1">
              <a:lumMod val="95000"/>
              <a:lumOff val="5000"/>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599400" y="432274"/>
            <a:ext cx="10993200" cy="696811"/>
          </a:xfrm>
        </p:spPr>
        <p:txBody>
          <a:bodyPr anchor="b"/>
          <a:lstStyle>
            <a:lvl1pPr>
              <a:defRPr sz="3800">
                <a:solidFill>
                  <a:schemeClr val="bg1"/>
                </a:solidFill>
              </a:defRPr>
            </a:lvl1pPr>
          </a:lstStyle>
          <a:p>
            <a:r>
              <a:rPr lang="en-US" smtClean="0"/>
              <a:t>Click to edit Master title style</a:t>
            </a:r>
            <a:endParaRPr lang="en-US" dirty="0"/>
          </a:p>
        </p:txBody>
      </p:sp>
      <p:sp>
        <p:nvSpPr>
          <p:cNvPr id="47" name="Text Placeholder 3"/>
          <p:cNvSpPr>
            <a:spLocks noGrp="1"/>
          </p:cNvSpPr>
          <p:nvPr>
            <p:ph type="body" sz="quarter" idx="20" hasCustomPrompt="1"/>
          </p:nvPr>
        </p:nvSpPr>
        <p:spPr>
          <a:xfrm>
            <a:off x="2348285" y="1256304"/>
            <a:ext cx="7495430" cy="771279"/>
          </a:xfrm>
        </p:spPr>
        <p:txBody>
          <a:bodyPr anchor="t">
            <a:noAutofit/>
          </a:bodyPr>
          <a:lstStyle>
            <a:lvl1pPr marL="0" indent="0" algn="ctr">
              <a:lnSpc>
                <a:spcPts val="2200"/>
              </a:lnSpc>
              <a:buFontTx/>
              <a:buNone/>
              <a:defRPr sz="22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Lorem ipsum dolor sit </a:t>
            </a:r>
            <a:r>
              <a:rPr lang="en-US" dirty="0" err="1"/>
              <a:t>amet</a:t>
            </a:r>
            <a:r>
              <a:rPr lang="en-US" dirty="0"/>
              <a:t>, </a:t>
            </a:r>
            <a:r>
              <a:rPr lang="en-US" dirty="0" err="1"/>
              <a:t>feugiat</a:t>
            </a:r>
            <a:r>
              <a:rPr lang="en-US" dirty="0"/>
              <a:t> </a:t>
            </a:r>
            <a:r>
              <a:rPr lang="en-US" dirty="0" err="1"/>
              <a:t>delicata</a:t>
            </a:r>
            <a:r>
              <a:rPr lang="en-US" dirty="0"/>
              <a:t> </a:t>
            </a:r>
            <a:r>
              <a:rPr lang="en-US" dirty="0" err="1"/>
              <a:t>liberavisse</a:t>
            </a:r>
            <a:r>
              <a:rPr lang="en-US" dirty="0"/>
              <a:t> id cum. No quo maiorum </a:t>
            </a:r>
            <a:r>
              <a:rPr lang="en-US" dirty="0" err="1"/>
              <a:t>intelleget</a:t>
            </a:r>
            <a:r>
              <a:rPr lang="en-US" dirty="0"/>
              <a:t>. </a:t>
            </a:r>
            <a:r>
              <a:rPr lang="en-US" dirty="0" err="1"/>
              <a:t>Mea</a:t>
            </a:r>
            <a:r>
              <a:rPr lang="en-US" dirty="0"/>
              <a:t> cu case </a:t>
            </a:r>
            <a:r>
              <a:rPr lang="en-US" dirty="0" err="1"/>
              <a:t>ludus</a:t>
            </a:r>
            <a:r>
              <a:rPr lang="en-US" dirty="0"/>
              <a:t> </a:t>
            </a:r>
            <a:r>
              <a:rPr lang="en-US" dirty="0" err="1"/>
              <a:t>integre</a:t>
            </a:r>
            <a:endParaRPr lang="en-US" dirty="0"/>
          </a:p>
        </p:txBody>
      </p:sp>
      <p:sp>
        <p:nvSpPr>
          <p:cNvPr id="12" name="TextBox 11"/>
          <p:cNvSpPr txBox="1"/>
          <p:nvPr userDrawn="1"/>
        </p:nvSpPr>
        <p:spPr>
          <a:xfrm>
            <a:off x="10831347" y="6449921"/>
            <a:ext cx="713422" cy="230832"/>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12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1200" kern="1200" dirty="0">
              <a:solidFill>
                <a:schemeClr val="tx1">
                  <a:lumMod val="50000"/>
                  <a:lumOff val="50000"/>
                </a:schemeClr>
              </a:solidFill>
              <a:latin typeface="+mn-lt"/>
              <a:ea typeface="+mn-ea"/>
              <a:cs typeface="+mn-cs"/>
            </a:endParaRPr>
          </a:p>
        </p:txBody>
      </p:sp>
      <p:grpSp>
        <p:nvGrpSpPr>
          <p:cNvPr id="13" name="Group 12"/>
          <p:cNvGrpSpPr/>
          <p:nvPr userDrawn="1"/>
        </p:nvGrpSpPr>
        <p:grpSpPr>
          <a:xfrm>
            <a:off x="651760" y="6127845"/>
            <a:ext cx="880164" cy="507267"/>
            <a:chOff x="1768475" y="3789363"/>
            <a:chExt cx="3098800" cy="1785938"/>
          </a:xfrm>
        </p:grpSpPr>
        <p:sp>
          <p:nvSpPr>
            <p:cNvPr id="14"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Rectangle 24"/>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Rectangle 30"/>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7" name="Text Placeholder 3"/>
          <p:cNvSpPr>
            <a:spLocks noGrp="1"/>
          </p:cNvSpPr>
          <p:nvPr>
            <p:ph type="body" sz="quarter" idx="21" hasCustomPrompt="1"/>
          </p:nvPr>
        </p:nvSpPr>
        <p:spPr>
          <a:xfrm>
            <a:off x="2576887" y="4805553"/>
            <a:ext cx="7050024" cy="950976"/>
          </a:xfrm>
        </p:spPr>
        <p:txBody>
          <a:bodyPr anchor="t">
            <a:noAutofit/>
          </a:bodyPr>
          <a:lstStyle>
            <a:lvl1pPr marL="0" indent="0" algn="ctr">
              <a:lnSpc>
                <a:spcPts val="2200"/>
              </a:lnSpc>
              <a:buFontTx/>
              <a:buNone/>
              <a:defRPr sz="22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Lorem ipsum dolor sit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amet</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feugiat</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delicata</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liberavisse</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id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cem</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No quo maiorum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intelleget</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Mea cu case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ludus</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a:t>
            </a:r>
            <a:r>
              <a:rPr kumimoji="0" lang="en-US" sz="1700" b="0" i="0" u="none" strike="noStrike" kern="1200" cap="none" spc="0" normalizeH="0" baseline="0" noProof="0" dirty="0" err="1" smtClean="0">
                <a:ln>
                  <a:noFill/>
                </a:ln>
                <a:solidFill>
                  <a:srgbClr val="708090">
                    <a:lumMod val="60000"/>
                    <a:lumOff val="40000"/>
                  </a:srgbClr>
                </a:solidFill>
                <a:effectLst/>
                <a:uLnTx/>
                <a:uFillTx/>
                <a:latin typeface="Calibri" panose="020F0502020204030204"/>
                <a:ea typeface="+mn-ea"/>
                <a:cs typeface="+mn-cs"/>
              </a:rPr>
              <a:t>integre</a:t>
            </a:r>
            <a:r>
              <a:rPr kumimoji="0" lang="en-US" sz="1700" b="0" i="0" u="none" strike="noStrike" kern="1200" cap="none" spc="0" normalizeH="0" baseline="0" noProof="0" dirty="0" smtClean="0">
                <a:ln>
                  <a:noFill/>
                </a:ln>
                <a:solidFill>
                  <a:srgbClr val="708090">
                    <a:lumMod val="60000"/>
                    <a:lumOff val="40000"/>
                  </a:srgbClr>
                </a:solidFill>
                <a:effectLst/>
                <a:uLnTx/>
                <a:uFillTx/>
                <a:latin typeface="Calibri" panose="020F0502020204030204"/>
                <a:ea typeface="+mn-ea"/>
                <a:cs typeface="+mn-cs"/>
              </a:rPr>
              <a:t>. quo maiorum quo maiorum quo maiorum</a:t>
            </a:r>
            <a:endParaRPr lang="en-US" dirty="0"/>
          </a:p>
        </p:txBody>
      </p:sp>
    </p:spTree>
    <p:extLst>
      <p:ext uri="{BB962C8B-B14F-4D97-AF65-F5344CB8AC3E}">
        <p14:creationId xmlns:p14="http://schemas.microsoft.com/office/powerpoint/2010/main" val="453822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G">
    <p:spTree>
      <p:nvGrpSpPr>
        <p:cNvPr id="1" name=""/>
        <p:cNvGrpSpPr/>
        <p:nvPr/>
      </p:nvGrpSpPr>
      <p:grpSpPr>
        <a:xfrm>
          <a:off x="0" y="0"/>
          <a:ext cx="0" cy="0"/>
          <a:chOff x="0" y="0"/>
          <a:chExt cx="0" cy="0"/>
        </a:xfrm>
      </p:grpSpPr>
      <p:sp>
        <p:nvSpPr>
          <p:cNvPr id="43" name="Shape 516"/>
          <p:cNvSpPr/>
          <p:nvPr userDrawn="1"/>
        </p:nvSpPr>
        <p:spPr>
          <a:xfrm>
            <a:off x="1" y="1"/>
            <a:ext cx="12192000" cy="2631882"/>
          </a:xfrm>
          <a:custGeom>
            <a:avLst/>
            <a:gdLst/>
            <a:ahLst/>
            <a:cxnLst/>
            <a:rect l="0" t="0" r="0" b="0"/>
            <a:pathLst>
              <a:path w="120000" h="120000" extrusionOk="0">
                <a:moveTo>
                  <a:pt x="0" y="0"/>
                </a:moveTo>
                <a:lnTo>
                  <a:pt x="120000" y="0"/>
                </a:lnTo>
                <a:lnTo>
                  <a:pt x="120000" y="88902"/>
                </a:lnTo>
                <a:lnTo>
                  <a:pt x="71600" y="115370"/>
                </a:lnTo>
                <a:cubicBezTo>
                  <a:pt x="60294" y="121936"/>
                  <a:pt x="59938" y="121301"/>
                  <a:pt x="48233" y="114834"/>
                </a:cubicBezTo>
                <a:lnTo>
                  <a:pt x="0" y="88902"/>
                </a:lnTo>
                <a:close/>
              </a:path>
            </a:pathLst>
          </a:cu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5400000" scaled="1"/>
            <a:tileRect/>
          </a:gradFill>
          <a:ln>
            <a:noFill/>
          </a:ln>
        </p:spPr>
        <p:txBody>
          <a:bodyPr wrap="square" lIns="91425" tIns="45700" rIns="91425" bIns="45700" anchor="ctr" anchorCtr="0">
            <a:noAutofit/>
          </a:bodyPr>
          <a:lstStyle/>
          <a:p>
            <a:pPr marR="0" lvl="0" indent="0" algn="ctr">
              <a:spcBef>
                <a:spcPts val="0"/>
              </a:spcBef>
              <a:buNone/>
            </a:pPr>
            <a:endParaRPr sz="2700">
              <a:solidFill>
                <a:schemeClr val="lt1"/>
              </a:solidFill>
              <a:latin typeface="Nunito Light"/>
              <a:ea typeface="Nunito Light"/>
              <a:cs typeface="Nunito Light"/>
              <a:sym typeface="Nunito Light"/>
            </a:endParaRPr>
          </a:p>
        </p:txBody>
      </p:sp>
      <p:sp>
        <p:nvSpPr>
          <p:cNvPr id="36" name="Text Placeholder 3"/>
          <p:cNvSpPr>
            <a:spLocks noGrp="1"/>
          </p:cNvSpPr>
          <p:nvPr>
            <p:ph type="body" sz="quarter" idx="12" hasCustomPrompt="1"/>
          </p:nvPr>
        </p:nvSpPr>
        <p:spPr>
          <a:xfrm>
            <a:off x="595911"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7" name="Text Placeholder 3"/>
          <p:cNvSpPr>
            <a:spLocks noGrp="1"/>
          </p:cNvSpPr>
          <p:nvPr>
            <p:ph type="body" sz="quarter" idx="15" hasCustomPrompt="1"/>
          </p:nvPr>
        </p:nvSpPr>
        <p:spPr>
          <a:xfrm>
            <a:off x="595911" y="4022698"/>
            <a:ext cx="3441291" cy="712430"/>
          </a:xfrm>
        </p:spPr>
        <p:txBody>
          <a:bodyPr anchor="b"/>
          <a:lstStyle>
            <a:lvl1pPr marL="0" indent="0" algn="ctr">
              <a:lnSpc>
                <a:spcPct val="100000"/>
              </a:lnSpc>
              <a:buFontTx/>
              <a:buNone/>
              <a:defRPr sz="32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382058"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39" name="Text Placeholder 3"/>
          <p:cNvSpPr>
            <a:spLocks noGrp="1"/>
          </p:cNvSpPr>
          <p:nvPr>
            <p:ph type="body" sz="quarter" idx="17" hasCustomPrompt="1"/>
          </p:nvPr>
        </p:nvSpPr>
        <p:spPr>
          <a:xfrm>
            <a:off x="4382058" y="4022698"/>
            <a:ext cx="3441291" cy="712430"/>
          </a:xfrm>
        </p:spPr>
        <p:txBody>
          <a:bodyPr anchor="b"/>
          <a:lstStyle>
            <a:lvl1pPr marL="0" indent="0" algn="ctr">
              <a:lnSpc>
                <a:spcPct val="100000"/>
              </a:lnSpc>
              <a:buFontTx/>
              <a:buNone/>
              <a:defRPr sz="32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181614" y="4881243"/>
            <a:ext cx="3441291" cy="106633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5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cum. No quo maiorum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lleg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endPar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
        <p:nvSpPr>
          <p:cNvPr id="41" name="Text Placeholder 3"/>
          <p:cNvSpPr>
            <a:spLocks noGrp="1"/>
          </p:cNvSpPr>
          <p:nvPr>
            <p:ph type="body" sz="quarter" idx="19" hasCustomPrompt="1"/>
          </p:nvPr>
        </p:nvSpPr>
        <p:spPr>
          <a:xfrm>
            <a:off x="8181614" y="4022698"/>
            <a:ext cx="3441291" cy="712430"/>
          </a:xfrm>
        </p:spPr>
        <p:txBody>
          <a:bodyPr anchor="b"/>
          <a:lstStyle>
            <a:lvl1pPr marL="0" indent="0" algn="ctr">
              <a:lnSpc>
                <a:spcPct val="100000"/>
              </a:lnSpc>
              <a:buFontTx/>
              <a:buNone/>
              <a:defRPr sz="32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4" name="Shape 377"/>
          <p:cNvSpPr/>
          <p:nvPr userDrawn="1"/>
        </p:nvSpPr>
        <p:spPr>
          <a:xfrm>
            <a:off x="4634820" y="0"/>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0" scaled="1"/>
            <a:tileRect/>
          </a:gradFill>
          <a:ln>
            <a:noFill/>
          </a:ln>
          <a:effectLst/>
        </p:spPr>
        <p:txBody>
          <a:bodyPr wrap="square" lIns="91425" tIns="45700" rIns="91425" bIns="45700" anchor="ctr" anchorCtr="0">
            <a:noAutofit/>
          </a:bodyPr>
          <a:lstStyle/>
          <a:p>
            <a:pPr marR="0" lvl="0" indent="0" algn="ctr">
              <a:spcBef>
                <a:spcPts val="0"/>
              </a:spcBef>
              <a:buNone/>
            </a:pPr>
            <a:endParaRPr sz="2700">
              <a:solidFill>
                <a:schemeClr val="lt1"/>
              </a:solidFill>
              <a:latin typeface="Nunito Light"/>
              <a:ea typeface="Nunito Light"/>
              <a:cs typeface="Nunito Light"/>
              <a:sym typeface="Nunito Light"/>
            </a:endParaRPr>
          </a:p>
        </p:txBody>
      </p:sp>
      <p:sp>
        <p:nvSpPr>
          <p:cNvPr id="2" name="Title 1"/>
          <p:cNvSpPr>
            <a:spLocks noGrp="1"/>
          </p:cNvSpPr>
          <p:nvPr>
            <p:ph type="title"/>
          </p:nvPr>
        </p:nvSpPr>
        <p:spPr>
          <a:xfrm>
            <a:off x="599400" y="607202"/>
            <a:ext cx="10993200" cy="601396"/>
          </a:xfrm>
        </p:spPr>
        <p:txBody>
          <a:bodyPr anchor="b"/>
          <a:lstStyle>
            <a:lvl1pPr>
              <a:defRPr sz="3800">
                <a:solidFill>
                  <a:schemeClr val="bg1"/>
                </a:solidFill>
              </a:defRPr>
            </a:lvl1pPr>
          </a:lstStyle>
          <a:p>
            <a:r>
              <a:rPr lang="en-US" smtClean="0"/>
              <a:t>Click to edit Master title style</a:t>
            </a:r>
            <a:endParaRPr lang="en-US" dirty="0"/>
          </a:p>
        </p:txBody>
      </p:sp>
      <p:sp>
        <p:nvSpPr>
          <p:cNvPr id="49" name="Text Placeholder 3"/>
          <p:cNvSpPr>
            <a:spLocks noGrp="1"/>
          </p:cNvSpPr>
          <p:nvPr>
            <p:ph type="body" sz="quarter" idx="20" hasCustomPrompt="1"/>
          </p:nvPr>
        </p:nvSpPr>
        <p:spPr>
          <a:xfrm>
            <a:off x="2348285" y="1319915"/>
            <a:ext cx="7495430" cy="620204"/>
          </a:xfrm>
        </p:spPr>
        <p:txBody>
          <a:bodyPr anchor="t"/>
          <a:lstStyle>
            <a:lvl1pPr marL="0" indent="0" algn="ctr">
              <a:lnSpc>
                <a:spcPts val="2200"/>
              </a:lnSpc>
              <a:buFontTx/>
              <a:buNone/>
              <a:defRPr sz="2800">
                <a:solidFill>
                  <a:schemeClr val="bg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Subtitle headline goes here</a:t>
            </a:r>
          </a:p>
        </p:txBody>
      </p:sp>
    </p:spTree>
    <p:extLst>
      <p:ext uri="{BB962C8B-B14F-4D97-AF65-F5344CB8AC3E}">
        <p14:creationId xmlns:p14="http://schemas.microsoft.com/office/powerpoint/2010/main" val="2141284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H">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981063" y="1474025"/>
            <a:ext cx="5030123" cy="1168972"/>
          </a:xfrm>
        </p:spPr>
        <p:txBody>
          <a:bodyPr anchor="b"/>
          <a:lstStyle>
            <a:lvl1pPr algn="l">
              <a:lnSpc>
                <a:spcPct val="100000"/>
              </a:lnSpc>
              <a:defRPr sz="4800">
                <a:solidFill>
                  <a:schemeClr val="tx1">
                    <a:lumMod val="85000"/>
                    <a:lumOff val="15000"/>
                  </a:schemeClr>
                </a:solidFill>
              </a:defRPr>
            </a:lvl1pPr>
          </a:lstStyle>
          <a:p>
            <a:r>
              <a:rPr lang="en-US" dirty="0"/>
              <a:t>Image and Title</a:t>
            </a:r>
            <a:br>
              <a:rPr lang="en-US" dirty="0"/>
            </a:br>
            <a:r>
              <a:rPr lang="en-US" dirty="0"/>
              <a:t>Headline Goes Here</a:t>
            </a:r>
          </a:p>
        </p:txBody>
      </p:sp>
      <p:sp>
        <p:nvSpPr>
          <p:cNvPr id="20" name="Text Placeholder 3"/>
          <p:cNvSpPr>
            <a:spLocks noGrp="1"/>
          </p:cNvSpPr>
          <p:nvPr>
            <p:ph type="body" sz="quarter" idx="12" hasCustomPrompt="1"/>
          </p:nvPr>
        </p:nvSpPr>
        <p:spPr>
          <a:xfrm>
            <a:off x="981738" y="2957027"/>
            <a:ext cx="5029505" cy="2030609"/>
          </a:xfrm>
        </p:spPr>
        <p:txBody>
          <a:bodyPr>
            <a:noAutofit/>
          </a:bodyPr>
          <a:lstStyle>
            <a:lvl1pPr marL="0" marR="0" indent="0" algn="l" rtl="0">
              <a:lnSpc>
                <a:spcPts val="2300"/>
              </a:lnSpc>
              <a:spcBef>
                <a:spcPts val="1200"/>
              </a:spcBef>
              <a:spcAft>
                <a:spcPts val="0"/>
              </a:spcAft>
              <a:buSzPct val="25000"/>
              <a:buFontTx/>
              <a:buNone/>
              <a:defRPr sz="1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l" rtl="0">
              <a:lnSpc>
                <a:spcPts val="2300"/>
              </a:lnSpc>
              <a:spcBef>
                <a:spcPts val="0"/>
              </a:spcBef>
              <a:spcAft>
                <a:spcPts val="0"/>
              </a:spcAft>
              <a:buSzPct val="25000"/>
              <a:buNone/>
            </a:pP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Lorem ipsum dolor si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amet</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feugiat</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delicata</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2000" dirty="0" err="1">
                <a:solidFill>
                  <a:schemeClr val="tx1">
                    <a:lumMod val="85000"/>
                    <a:lumOff val="15000"/>
                  </a:schemeClr>
                </a:solidFill>
                <a:latin typeface="Calibri" panose="020F0502020204030204" pitchFamily="34" charset="0"/>
                <a:ea typeface="Nunito"/>
                <a:cs typeface="Calibri" panose="020F0502020204030204" pitchFamily="34" charset="0"/>
                <a:sym typeface="Nunito"/>
              </a:rPr>
              <a:t>liberavisse</a:t>
            </a:r>
            <a:r>
              <a:rPr lang="en-US" sz="2000" dirty="0">
                <a:solidFill>
                  <a:schemeClr val="tx1">
                    <a:lumMod val="85000"/>
                    <a:lumOff val="15000"/>
                  </a:schemeClr>
                </a:solidFill>
                <a:latin typeface="Calibri" panose="020F0502020204030204" pitchFamily="34" charset="0"/>
                <a:ea typeface="Nunito"/>
                <a:cs typeface="Calibri" panose="020F0502020204030204" pitchFamily="34" charset="0"/>
                <a:sym typeface="Nunito"/>
              </a:rPr>
              <a:t> id cum. </a:t>
            </a:r>
          </a:p>
          <a:p>
            <a:pPr marL="0" marR="0" lvl="0" indent="0" algn="l" rtl="0">
              <a:lnSpc>
                <a:spcPts val="2300"/>
              </a:lnSpc>
              <a:spcBef>
                <a:spcPts val="1200"/>
              </a:spcBef>
              <a:buSzPct val="25000"/>
              <a:buNone/>
            </a:pP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His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icer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m e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tqu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lacera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tentiu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Per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nonumy</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riculi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enit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nd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peirian</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temporib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a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p>
          <a:p>
            <a:pPr lvl="0"/>
            <a:endParaRPr lang="en-US" dirty="0"/>
          </a:p>
        </p:txBody>
      </p:sp>
      <p:cxnSp>
        <p:nvCxnSpPr>
          <p:cNvPr id="13" name="Straight Connector 12"/>
          <p:cNvCxnSpPr/>
          <p:nvPr userDrawn="1"/>
        </p:nvCxnSpPr>
        <p:spPr>
          <a:xfrm>
            <a:off x="993913" y="2798859"/>
            <a:ext cx="4659465" cy="0"/>
          </a:xfrm>
          <a:prstGeom prst="line">
            <a:avLst/>
          </a:prstGeom>
          <a:ln w="12700" cap="rnd">
            <a:solidFill>
              <a:schemeClr val="bg2">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0488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I">
    <p:spTree>
      <p:nvGrpSpPr>
        <p:cNvPr id="1" name=""/>
        <p:cNvGrpSpPr/>
        <p:nvPr/>
      </p:nvGrpSpPr>
      <p:grpSpPr>
        <a:xfrm>
          <a:off x="0" y="0"/>
          <a:ext cx="0" cy="0"/>
          <a:chOff x="0" y="0"/>
          <a:chExt cx="0" cy="0"/>
        </a:xfrm>
      </p:grpSpPr>
      <p:sp>
        <p:nvSpPr>
          <p:cNvPr id="16" name="Text Placeholder 4"/>
          <p:cNvSpPr>
            <a:spLocks noGrp="1"/>
          </p:cNvSpPr>
          <p:nvPr>
            <p:ph type="body" sz="quarter" idx="13" hasCustomPrompt="1"/>
          </p:nvPr>
        </p:nvSpPr>
        <p:spPr>
          <a:xfrm>
            <a:off x="8830049" y="4152899"/>
            <a:ext cx="2432304" cy="956427"/>
          </a:xfrm>
        </p:spPr>
        <p:txBody>
          <a:bodyPr/>
          <a:lstStyle>
            <a:lvl1pPr marL="0" marR="0" indent="0" algn="ctr" rtl="0">
              <a:spcBef>
                <a:spcPts val="600"/>
              </a:spcBef>
              <a:spcAft>
                <a:spcPts val="0"/>
              </a:spcAft>
              <a:buSzPct val="25000"/>
              <a:buNone/>
              <a:defRPr sz="3600">
                <a:solidFill>
                  <a:schemeClr val="tx1">
                    <a:lumMod val="85000"/>
                    <a:lumOff val="15000"/>
                  </a:schemeClr>
                </a:solidFill>
              </a:defRPr>
            </a:lvl1pPr>
          </a:lstStyle>
          <a:p>
            <a:pPr lvl="0" algn="ctr">
              <a:spcBef>
                <a:spcPts val="600"/>
              </a:spcBef>
              <a:buSzPct val="25000"/>
            </a:pPr>
            <a:r>
              <a:rPr lang="en-US" sz="2000" dirty="0" smtClean="0">
                <a:solidFill>
                  <a:schemeClr val="tx1">
                    <a:lumMod val="85000"/>
                    <a:lumOff val="15000"/>
                  </a:schemeClr>
                </a:solidFill>
                <a:ea typeface="Nunito Light"/>
                <a:cs typeface="Nunito Light"/>
                <a:sym typeface="Nunito Light"/>
              </a:rPr>
              <a:t>ipsum dolor</a:t>
            </a:r>
            <a:endParaRPr lang="en-US" sz="2000" dirty="0">
              <a:solidFill>
                <a:schemeClr val="tx1">
                  <a:lumMod val="85000"/>
                  <a:lumOff val="15000"/>
                </a:schemeClr>
              </a:solidFill>
              <a:ea typeface="Nunito"/>
              <a:cs typeface="Nunito"/>
              <a:sym typeface="Nunito"/>
            </a:endParaRPr>
          </a:p>
        </p:txBody>
      </p:sp>
      <p:sp>
        <p:nvSpPr>
          <p:cNvPr id="15" name="Text Placeholder 4"/>
          <p:cNvSpPr>
            <a:spLocks noGrp="1"/>
          </p:cNvSpPr>
          <p:nvPr>
            <p:ph type="body" sz="quarter" idx="12" hasCustomPrompt="1"/>
          </p:nvPr>
        </p:nvSpPr>
        <p:spPr>
          <a:xfrm>
            <a:off x="6234443" y="4152900"/>
            <a:ext cx="2432304" cy="956654"/>
          </a:xfrm>
        </p:spPr>
        <p:txBody>
          <a:bodyPr/>
          <a:lstStyle>
            <a:lvl1pPr marL="0" marR="0" indent="0" algn="ctr" rtl="0">
              <a:spcBef>
                <a:spcPts val="600"/>
              </a:spcBef>
              <a:spcAft>
                <a:spcPts val="0"/>
              </a:spcAft>
              <a:buSzPct val="25000"/>
              <a:buNone/>
              <a:defRPr sz="3600">
                <a:solidFill>
                  <a:schemeClr val="tx1">
                    <a:lumMod val="85000"/>
                    <a:lumOff val="15000"/>
                  </a:schemeClr>
                </a:solidFill>
              </a:defRPr>
            </a:lvl1pPr>
          </a:lstStyle>
          <a:p>
            <a:pPr lvl="0" algn="ctr">
              <a:spcBef>
                <a:spcPts val="600"/>
              </a:spcBef>
              <a:buSzPct val="25000"/>
            </a:pPr>
            <a:r>
              <a:rPr lang="en-US" sz="2000" dirty="0" smtClean="0">
                <a:solidFill>
                  <a:schemeClr val="tx1">
                    <a:lumMod val="85000"/>
                    <a:lumOff val="15000"/>
                  </a:schemeClr>
                </a:solidFill>
                <a:ea typeface="Nunito Light"/>
                <a:cs typeface="Nunito Light"/>
                <a:sym typeface="Nunito Light"/>
              </a:rPr>
              <a:t>ipsum dolor</a:t>
            </a:r>
            <a:endParaRPr lang="en-US" sz="2000" dirty="0">
              <a:solidFill>
                <a:schemeClr val="tx1">
                  <a:lumMod val="85000"/>
                  <a:lumOff val="15000"/>
                </a:schemeClr>
              </a:solidFill>
              <a:ea typeface="Nunito"/>
              <a:cs typeface="Nunito"/>
              <a:sym typeface="Nunito"/>
            </a:endParaRPr>
          </a:p>
        </p:txBody>
      </p:sp>
      <p:sp>
        <p:nvSpPr>
          <p:cNvPr id="12" name="Text Placeholder 4"/>
          <p:cNvSpPr>
            <a:spLocks noGrp="1"/>
          </p:cNvSpPr>
          <p:nvPr>
            <p:ph type="body" sz="quarter" idx="11" hasCustomPrompt="1"/>
          </p:nvPr>
        </p:nvSpPr>
        <p:spPr>
          <a:xfrm>
            <a:off x="3532374" y="4152900"/>
            <a:ext cx="2432304" cy="958404"/>
          </a:xfrm>
        </p:spPr>
        <p:txBody>
          <a:bodyPr/>
          <a:lstStyle>
            <a:lvl1pPr marL="0" marR="0" indent="0" algn="ctr" rtl="0">
              <a:spcBef>
                <a:spcPts val="600"/>
              </a:spcBef>
              <a:spcAft>
                <a:spcPts val="0"/>
              </a:spcAft>
              <a:buSzPct val="25000"/>
              <a:buNone/>
              <a:defRPr sz="3600">
                <a:solidFill>
                  <a:schemeClr val="tx1">
                    <a:lumMod val="85000"/>
                    <a:lumOff val="15000"/>
                  </a:schemeClr>
                </a:solidFill>
              </a:defRPr>
            </a:lvl1pPr>
          </a:lstStyle>
          <a:p>
            <a:pPr lvl="0" algn="ctr">
              <a:spcBef>
                <a:spcPts val="600"/>
              </a:spcBef>
              <a:buSzPct val="25000"/>
            </a:pPr>
            <a:r>
              <a:rPr lang="en-US" sz="2000" dirty="0" smtClean="0">
                <a:solidFill>
                  <a:schemeClr val="tx1">
                    <a:lumMod val="85000"/>
                    <a:lumOff val="15000"/>
                  </a:schemeClr>
                </a:solidFill>
                <a:ea typeface="Nunito Light"/>
                <a:cs typeface="Nunito Light"/>
                <a:sym typeface="Nunito Light"/>
              </a:rPr>
              <a:t>ipsum dolor</a:t>
            </a:r>
            <a:endParaRPr lang="en-US" sz="2000" dirty="0">
              <a:solidFill>
                <a:schemeClr val="tx1">
                  <a:lumMod val="85000"/>
                  <a:lumOff val="15000"/>
                </a:schemeClr>
              </a:solidFill>
              <a:ea typeface="Nunito"/>
              <a:cs typeface="Nunito"/>
              <a:sym typeface="Nunito"/>
            </a:endParaRPr>
          </a:p>
        </p:txBody>
      </p:sp>
      <p:sp>
        <p:nvSpPr>
          <p:cNvPr id="5" name="Text Placeholder 4"/>
          <p:cNvSpPr>
            <a:spLocks noGrp="1"/>
          </p:cNvSpPr>
          <p:nvPr>
            <p:ph type="body" sz="quarter" idx="10" hasCustomPrompt="1"/>
          </p:nvPr>
        </p:nvSpPr>
        <p:spPr>
          <a:xfrm>
            <a:off x="917831" y="4152899"/>
            <a:ext cx="2432304" cy="957075"/>
          </a:xfrm>
        </p:spPr>
        <p:txBody>
          <a:bodyPr/>
          <a:lstStyle>
            <a:lvl1pPr marL="0" marR="0" indent="0" algn="ctr" rtl="0">
              <a:spcBef>
                <a:spcPts val="600"/>
              </a:spcBef>
              <a:spcAft>
                <a:spcPts val="0"/>
              </a:spcAft>
              <a:buSzPct val="25000"/>
              <a:buNone/>
              <a:defRPr sz="3200">
                <a:solidFill>
                  <a:schemeClr val="tx1">
                    <a:lumMod val="85000"/>
                    <a:lumOff val="15000"/>
                  </a:schemeClr>
                </a:solidFill>
              </a:defRPr>
            </a:lvl1pPr>
          </a:lstStyle>
          <a:p>
            <a:pPr lvl="0" algn="ctr">
              <a:spcBef>
                <a:spcPts val="600"/>
              </a:spcBef>
              <a:buSzPct val="25000"/>
            </a:pPr>
            <a:r>
              <a:rPr lang="en-US" sz="2000" dirty="0" smtClean="0">
                <a:solidFill>
                  <a:schemeClr val="tx1">
                    <a:lumMod val="85000"/>
                    <a:lumOff val="15000"/>
                  </a:schemeClr>
                </a:solidFill>
                <a:ea typeface="Nunito"/>
                <a:cs typeface="Nunito"/>
                <a:sym typeface="Nunito"/>
              </a:rPr>
              <a:t>ipsum dolor </a:t>
            </a:r>
            <a:endParaRPr lang="en-US" sz="2000" dirty="0">
              <a:solidFill>
                <a:schemeClr val="tx1">
                  <a:lumMod val="85000"/>
                  <a:lumOff val="15000"/>
                </a:schemeClr>
              </a:solidFill>
              <a:ea typeface="Nunito"/>
              <a:cs typeface="Nunito"/>
              <a:sym typeface="Nunito"/>
            </a:endParaRPr>
          </a:p>
        </p:txBody>
      </p:sp>
      <p:sp>
        <p:nvSpPr>
          <p:cNvPr id="3" name="Rectangle 2"/>
          <p:cNvSpPr/>
          <p:nvPr userDrawn="1"/>
        </p:nvSpPr>
        <p:spPr>
          <a:xfrm>
            <a:off x="4025891" y="0"/>
            <a:ext cx="3989024" cy="432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3" name="Shape 626"/>
          <p:cNvSpPr>
            <a:spLocks noChangeAspect="1"/>
          </p:cNvSpPr>
          <p:nvPr/>
        </p:nvSpPr>
        <p:spPr>
          <a:xfrm>
            <a:off x="2834913" y="3"/>
            <a:ext cx="6508690" cy="3983600"/>
          </a:xfrm>
          <a:custGeom>
            <a:avLst/>
            <a:gdLst/>
            <a:ahLst/>
            <a:cxnLst/>
            <a:rect l="0" t="0" r="0" b="0"/>
            <a:pathLst>
              <a:path w="120000" h="120000" extrusionOk="0">
                <a:moveTo>
                  <a:pt x="0" y="0"/>
                </a:moveTo>
                <a:lnTo>
                  <a:pt x="120000" y="0"/>
                </a:lnTo>
                <a:lnTo>
                  <a:pt x="120000" y="60154"/>
                </a:lnTo>
                <a:lnTo>
                  <a:pt x="120000" y="61237"/>
                </a:lnTo>
                <a:lnTo>
                  <a:pt x="119912" y="62402"/>
                </a:lnTo>
                <a:lnTo>
                  <a:pt x="119516" y="64816"/>
                </a:lnTo>
                <a:lnTo>
                  <a:pt x="119033" y="66980"/>
                </a:lnTo>
                <a:lnTo>
                  <a:pt x="118243" y="69227"/>
                </a:lnTo>
                <a:lnTo>
                  <a:pt x="117320" y="71308"/>
                </a:lnTo>
                <a:lnTo>
                  <a:pt x="116266" y="73222"/>
                </a:lnTo>
                <a:lnTo>
                  <a:pt x="115168" y="74887"/>
                </a:lnTo>
                <a:lnTo>
                  <a:pt x="114465" y="75636"/>
                </a:lnTo>
                <a:lnTo>
                  <a:pt x="113894" y="76219"/>
                </a:lnTo>
                <a:lnTo>
                  <a:pt x="66105" y="117752"/>
                </a:lnTo>
                <a:lnTo>
                  <a:pt x="65534" y="118252"/>
                </a:lnTo>
                <a:lnTo>
                  <a:pt x="64831" y="118668"/>
                </a:lnTo>
                <a:lnTo>
                  <a:pt x="63250" y="119417"/>
                </a:lnTo>
                <a:lnTo>
                  <a:pt x="61669" y="119833"/>
                </a:lnTo>
                <a:lnTo>
                  <a:pt x="60000" y="120000"/>
                </a:lnTo>
                <a:lnTo>
                  <a:pt x="58330" y="119833"/>
                </a:lnTo>
                <a:lnTo>
                  <a:pt x="56749" y="119417"/>
                </a:lnTo>
                <a:lnTo>
                  <a:pt x="55168" y="118668"/>
                </a:lnTo>
                <a:lnTo>
                  <a:pt x="54465" y="118252"/>
                </a:lnTo>
                <a:lnTo>
                  <a:pt x="53894" y="117752"/>
                </a:lnTo>
                <a:lnTo>
                  <a:pt x="6105" y="76219"/>
                </a:lnTo>
                <a:lnTo>
                  <a:pt x="5534" y="75636"/>
                </a:lnTo>
                <a:lnTo>
                  <a:pt x="4831" y="74887"/>
                </a:lnTo>
                <a:lnTo>
                  <a:pt x="3733" y="73222"/>
                </a:lnTo>
                <a:lnTo>
                  <a:pt x="2679" y="71308"/>
                </a:lnTo>
                <a:lnTo>
                  <a:pt x="1756" y="69227"/>
                </a:lnTo>
                <a:lnTo>
                  <a:pt x="966" y="66980"/>
                </a:lnTo>
                <a:lnTo>
                  <a:pt x="395" y="64816"/>
                </a:lnTo>
                <a:lnTo>
                  <a:pt x="87" y="62402"/>
                </a:lnTo>
                <a:lnTo>
                  <a:pt x="0" y="61237"/>
                </a:lnTo>
                <a:lnTo>
                  <a:pt x="0" y="60154"/>
                </a:lnTo>
                <a:close/>
              </a:path>
            </a:pathLst>
          </a:custGeom>
          <a:solidFill>
            <a:schemeClr val="accent4">
              <a:lumMod val="40000"/>
              <a:lumOff val="60000"/>
            </a:schemeClr>
          </a:solidFill>
          <a:ln>
            <a:noFill/>
          </a:ln>
        </p:spPr>
        <p:txBody>
          <a:bodyPr/>
          <a:lstStyle/>
          <a:p>
            <a:endParaRPr lang="en-US" dirty="0"/>
          </a:p>
        </p:txBody>
      </p:sp>
      <p:sp>
        <p:nvSpPr>
          <p:cNvPr id="14" name="Shape 627"/>
          <p:cNvSpPr>
            <a:spLocks noChangeAspect="1"/>
          </p:cNvSpPr>
          <p:nvPr/>
        </p:nvSpPr>
        <p:spPr>
          <a:xfrm rot="16200000">
            <a:off x="4524558" y="608840"/>
            <a:ext cx="3129398" cy="3026101"/>
          </a:xfrm>
          <a:custGeom>
            <a:avLst/>
            <a:gdLst/>
            <a:ahLst/>
            <a:cxnLst/>
            <a:rect l="0" t="0" r="0" b="0"/>
            <a:pathLst>
              <a:path w="120000" h="120000" extrusionOk="0">
                <a:moveTo>
                  <a:pt x="35418" y="119999"/>
                </a:moveTo>
                <a:lnTo>
                  <a:pt x="35418" y="119999"/>
                </a:lnTo>
                <a:lnTo>
                  <a:pt x="34778" y="119999"/>
                </a:lnTo>
                <a:lnTo>
                  <a:pt x="34088" y="119912"/>
                </a:lnTo>
                <a:lnTo>
                  <a:pt x="32660" y="119516"/>
                </a:lnTo>
                <a:lnTo>
                  <a:pt x="31379" y="119033"/>
                </a:lnTo>
                <a:lnTo>
                  <a:pt x="30049" y="118243"/>
                </a:lnTo>
                <a:lnTo>
                  <a:pt x="28817" y="117320"/>
                </a:lnTo>
                <a:lnTo>
                  <a:pt x="27684" y="116266"/>
                </a:lnTo>
                <a:lnTo>
                  <a:pt x="26699" y="115168"/>
                </a:lnTo>
                <a:lnTo>
                  <a:pt x="26256" y="114465"/>
                </a:lnTo>
                <a:lnTo>
                  <a:pt x="25911" y="113894"/>
                </a:lnTo>
                <a:lnTo>
                  <a:pt x="1330" y="66105"/>
                </a:lnTo>
                <a:lnTo>
                  <a:pt x="1330" y="66105"/>
                </a:lnTo>
                <a:lnTo>
                  <a:pt x="1034" y="65534"/>
                </a:lnTo>
                <a:lnTo>
                  <a:pt x="788" y="64831"/>
                </a:lnTo>
                <a:lnTo>
                  <a:pt x="344" y="63250"/>
                </a:lnTo>
                <a:lnTo>
                  <a:pt x="98" y="61669"/>
                </a:lnTo>
                <a:lnTo>
                  <a:pt x="0" y="59999"/>
                </a:lnTo>
                <a:lnTo>
                  <a:pt x="98" y="58330"/>
                </a:lnTo>
                <a:lnTo>
                  <a:pt x="344" y="56749"/>
                </a:lnTo>
                <a:lnTo>
                  <a:pt x="788" y="55168"/>
                </a:lnTo>
                <a:lnTo>
                  <a:pt x="1034" y="54465"/>
                </a:lnTo>
                <a:lnTo>
                  <a:pt x="1330" y="53894"/>
                </a:lnTo>
                <a:lnTo>
                  <a:pt x="25911" y="6105"/>
                </a:lnTo>
                <a:lnTo>
                  <a:pt x="25911" y="6105"/>
                </a:lnTo>
                <a:lnTo>
                  <a:pt x="26256" y="5534"/>
                </a:lnTo>
                <a:lnTo>
                  <a:pt x="26699" y="4831"/>
                </a:lnTo>
                <a:lnTo>
                  <a:pt x="27684" y="3733"/>
                </a:lnTo>
                <a:lnTo>
                  <a:pt x="28817" y="2679"/>
                </a:lnTo>
                <a:lnTo>
                  <a:pt x="30049" y="1756"/>
                </a:lnTo>
                <a:lnTo>
                  <a:pt x="31379" y="966"/>
                </a:lnTo>
                <a:lnTo>
                  <a:pt x="32660" y="395"/>
                </a:lnTo>
                <a:lnTo>
                  <a:pt x="34088" y="87"/>
                </a:lnTo>
                <a:lnTo>
                  <a:pt x="34778" y="0"/>
                </a:lnTo>
                <a:lnTo>
                  <a:pt x="35418" y="0"/>
                </a:lnTo>
                <a:lnTo>
                  <a:pt x="84581" y="0"/>
                </a:lnTo>
                <a:lnTo>
                  <a:pt x="84581" y="0"/>
                </a:lnTo>
                <a:lnTo>
                  <a:pt x="85221" y="0"/>
                </a:lnTo>
                <a:lnTo>
                  <a:pt x="85911" y="87"/>
                </a:lnTo>
                <a:lnTo>
                  <a:pt x="87339" y="395"/>
                </a:lnTo>
                <a:lnTo>
                  <a:pt x="88620" y="966"/>
                </a:lnTo>
                <a:lnTo>
                  <a:pt x="89950" y="1756"/>
                </a:lnTo>
                <a:lnTo>
                  <a:pt x="91182" y="2679"/>
                </a:lnTo>
                <a:lnTo>
                  <a:pt x="92315" y="3733"/>
                </a:lnTo>
                <a:lnTo>
                  <a:pt x="93300" y="4831"/>
                </a:lnTo>
                <a:lnTo>
                  <a:pt x="93743" y="5534"/>
                </a:lnTo>
                <a:lnTo>
                  <a:pt x="94088" y="6105"/>
                </a:lnTo>
                <a:lnTo>
                  <a:pt x="118669" y="53894"/>
                </a:lnTo>
                <a:lnTo>
                  <a:pt x="118669" y="53894"/>
                </a:lnTo>
                <a:lnTo>
                  <a:pt x="118965" y="54465"/>
                </a:lnTo>
                <a:lnTo>
                  <a:pt x="119211" y="55168"/>
                </a:lnTo>
                <a:lnTo>
                  <a:pt x="119655" y="56749"/>
                </a:lnTo>
                <a:lnTo>
                  <a:pt x="119901" y="58330"/>
                </a:lnTo>
                <a:lnTo>
                  <a:pt x="120000" y="59999"/>
                </a:lnTo>
                <a:lnTo>
                  <a:pt x="119901" y="61669"/>
                </a:lnTo>
                <a:lnTo>
                  <a:pt x="119655" y="63250"/>
                </a:lnTo>
                <a:lnTo>
                  <a:pt x="119211" y="64831"/>
                </a:lnTo>
                <a:lnTo>
                  <a:pt x="118965" y="65534"/>
                </a:lnTo>
                <a:lnTo>
                  <a:pt x="118669" y="66105"/>
                </a:lnTo>
                <a:lnTo>
                  <a:pt x="94088" y="113894"/>
                </a:lnTo>
                <a:lnTo>
                  <a:pt x="94088" y="113894"/>
                </a:lnTo>
                <a:lnTo>
                  <a:pt x="93743" y="114465"/>
                </a:lnTo>
                <a:lnTo>
                  <a:pt x="93300" y="115168"/>
                </a:lnTo>
                <a:lnTo>
                  <a:pt x="92315" y="116266"/>
                </a:lnTo>
                <a:lnTo>
                  <a:pt x="91182" y="117320"/>
                </a:lnTo>
                <a:lnTo>
                  <a:pt x="89950" y="118243"/>
                </a:lnTo>
                <a:lnTo>
                  <a:pt x="88620" y="119033"/>
                </a:lnTo>
                <a:lnTo>
                  <a:pt x="87339" y="119516"/>
                </a:lnTo>
                <a:lnTo>
                  <a:pt x="85911" y="119912"/>
                </a:lnTo>
                <a:lnTo>
                  <a:pt x="85221" y="119999"/>
                </a:lnTo>
                <a:lnTo>
                  <a:pt x="84581" y="119999"/>
                </a:lnTo>
                <a:lnTo>
                  <a:pt x="35418" y="119999"/>
                </a:lnTo>
                <a:close/>
              </a:path>
            </a:pathLst>
          </a:custGeom>
          <a:solidFill>
            <a:schemeClr val="accent4">
              <a:lumMod val="75000"/>
              <a:alpha val="60000"/>
            </a:schemeClr>
          </a:solidFill>
          <a:ln>
            <a:noFill/>
          </a:ln>
        </p:spPr>
        <p:txBody>
          <a:bodyPr wrap="square" lIns="91425" tIns="45700" rIns="91425" bIns="45700" anchor="ctr" anchorCtr="0">
            <a:noAutofit/>
          </a:bodyPr>
          <a:lstStyle/>
          <a:p>
            <a:pPr marL="0" marR="0" lvl="0" indent="0" algn="ctr" rtl="0">
              <a:spcBef>
                <a:spcPts val="0"/>
              </a:spcBef>
              <a:buNone/>
            </a:pPr>
            <a:endParaRPr sz="3000">
              <a:solidFill>
                <a:schemeClr val="lt1"/>
              </a:solidFill>
              <a:latin typeface="Calibri" panose="020F0502020204030204" pitchFamily="34" charset="0"/>
              <a:ea typeface="Nunito Light"/>
              <a:cs typeface="Calibri" panose="020F0502020204030204" pitchFamily="34" charset="0"/>
              <a:sym typeface="Nunito Light"/>
            </a:endParaRPr>
          </a:p>
        </p:txBody>
      </p:sp>
      <p:sp>
        <p:nvSpPr>
          <p:cNvPr id="2" name="Title 1"/>
          <p:cNvSpPr>
            <a:spLocks noGrp="1"/>
          </p:cNvSpPr>
          <p:nvPr userDrawn="1">
            <p:ph type="title" hasCustomPrompt="1"/>
          </p:nvPr>
        </p:nvSpPr>
        <p:spPr>
          <a:xfrm>
            <a:off x="4719371" y="690655"/>
            <a:ext cx="2739772" cy="2862470"/>
          </a:xfrm>
        </p:spPr>
        <p:txBody>
          <a:bodyPr anchor="ctr"/>
          <a:lstStyle>
            <a:lvl1pPr>
              <a:lnSpc>
                <a:spcPct val="100000"/>
              </a:lnSpc>
              <a:defRPr sz="3100" baseline="0">
                <a:solidFill>
                  <a:schemeClr val="bg1"/>
                </a:solidFill>
              </a:defRPr>
            </a:lvl1pPr>
          </a:lstStyle>
          <a:p>
            <a:r>
              <a:rPr lang="en-US" dirty="0"/>
              <a:t>Title Line</a:t>
            </a:r>
            <a:br>
              <a:rPr lang="en-US" dirty="0"/>
            </a:br>
            <a:r>
              <a:rPr lang="en-US" dirty="0" smtClean="0"/>
              <a:t>Goes </a:t>
            </a:r>
            <a:r>
              <a:rPr lang="en-US" dirty="0"/>
              <a:t>Here</a:t>
            </a:r>
            <a:br>
              <a:rPr lang="en-US" dirty="0"/>
            </a:br>
            <a:r>
              <a:rPr lang="en-US" dirty="0"/>
              <a:t>Title Line</a:t>
            </a:r>
          </a:p>
        </p:txBody>
      </p:sp>
      <p:cxnSp>
        <p:nvCxnSpPr>
          <p:cNvPr id="17" name="Shape 634"/>
          <p:cNvCxnSpPr/>
          <p:nvPr userDrawn="1"/>
        </p:nvCxnSpPr>
        <p:spPr>
          <a:xfrm>
            <a:off x="1137038" y="5171346"/>
            <a:ext cx="9716495" cy="0"/>
          </a:xfrm>
          <a:prstGeom prst="straightConnector1">
            <a:avLst/>
          </a:prstGeom>
          <a:noFill/>
          <a:ln w="9525" cap="flat" cmpd="sng">
            <a:solidFill>
              <a:schemeClr val="accent4">
                <a:lumMod val="60000"/>
                <a:lumOff val="40000"/>
              </a:schemeClr>
            </a:solidFill>
            <a:prstDash val="solid"/>
            <a:miter lim="800000"/>
            <a:headEnd type="none" w="med" len="med"/>
            <a:tailEnd type="none" w="med" len="med"/>
          </a:ln>
        </p:spPr>
      </p:cxnSp>
      <p:sp>
        <p:nvSpPr>
          <p:cNvPr id="11" name="Text Placeholder 10"/>
          <p:cNvSpPr>
            <a:spLocks noGrp="1"/>
          </p:cNvSpPr>
          <p:nvPr>
            <p:ph type="body" sz="quarter" idx="14" hasCustomPrompt="1"/>
          </p:nvPr>
        </p:nvSpPr>
        <p:spPr>
          <a:xfrm>
            <a:off x="1217709" y="5232387"/>
            <a:ext cx="9628632" cy="749808"/>
          </a:xfrm>
        </p:spPr>
        <p:txBody>
          <a:bodyPr>
            <a:noAutofit/>
          </a:bodyPr>
          <a:lstStyle>
            <a:lvl1pPr marL="0" indent="0">
              <a:buNone/>
              <a:defRPr sz="1700">
                <a:solidFill>
                  <a:schemeClr val="tx1">
                    <a:lumMod val="85000"/>
                    <a:lumOff val="15000"/>
                  </a:schemeClr>
                </a:solidFill>
              </a:defRPr>
            </a:lvl1pPr>
            <a:lvl2pPr marL="163703" indent="0">
              <a:buNone/>
              <a:defRPr sz="1700">
                <a:solidFill>
                  <a:schemeClr val="tx1">
                    <a:lumMod val="85000"/>
                    <a:lumOff val="15000"/>
                  </a:schemeClr>
                </a:solidFill>
              </a:defRPr>
            </a:lvl2pPr>
            <a:lvl3pPr marL="347663" indent="0">
              <a:buNone/>
              <a:defRPr sz="1700">
                <a:solidFill>
                  <a:schemeClr val="tx1">
                    <a:lumMod val="85000"/>
                    <a:lumOff val="15000"/>
                  </a:schemeClr>
                </a:solidFill>
              </a:defRPr>
            </a:lvl3pPr>
            <a:lvl4pPr marL="512064" indent="0">
              <a:buNone/>
              <a:defRPr sz="1700">
                <a:solidFill>
                  <a:schemeClr val="tx1">
                    <a:lumMod val="85000"/>
                    <a:lumOff val="15000"/>
                  </a:schemeClr>
                </a:solidFill>
              </a:defRPr>
            </a:lvl4pPr>
            <a:lvl5pPr marL="0" indent="0">
              <a:buFont typeface="Arial" panose="020B0604020202020204" pitchFamily="34" charset="0"/>
              <a:buNone/>
              <a:defRPr sz="1700">
                <a:solidFill>
                  <a:schemeClr val="tx1">
                    <a:lumMod val="85000"/>
                    <a:lumOff val="15000"/>
                  </a:schemeClr>
                </a:solidFill>
              </a:defRPr>
            </a:lvl5pPr>
          </a:lstStyle>
          <a:p>
            <a:pPr lvl="0"/>
            <a:r>
              <a:rPr lang="en-US" sz="1700" dirty="0" smtClean="0">
                <a:solidFill>
                  <a:schemeClr val="tx1">
                    <a:lumMod val="85000"/>
                    <a:lumOff val="15000"/>
                  </a:schemeClr>
                </a:solidFill>
                <a:ea typeface="Nunito Light"/>
                <a:cs typeface="Nunito Light"/>
                <a:sym typeface="Nunito Light"/>
              </a:rPr>
              <a:t>Lorem ipsum dolor sit </a:t>
            </a:r>
            <a:r>
              <a:rPr lang="en-US" sz="1700" dirty="0" err="1" smtClean="0">
                <a:solidFill>
                  <a:schemeClr val="tx1">
                    <a:lumMod val="85000"/>
                    <a:lumOff val="15000"/>
                  </a:schemeClr>
                </a:solidFill>
                <a:ea typeface="Nunito Light"/>
                <a:cs typeface="Nunito Light"/>
                <a:sym typeface="Nunito Light"/>
              </a:rPr>
              <a:t>amet</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feugiat</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delicata</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liberavisse</a:t>
            </a:r>
            <a:r>
              <a:rPr lang="en-US" sz="1700" dirty="0" smtClean="0">
                <a:solidFill>
                  <a:schemeClr val="tx1">
                    <a:lumMod val="85000"/>
                    <a:lumOff val="15000"/>
                  </a:schemeClr>
                </a:solidFill>
                <a:ea typeface="Nunito Light"/>
                <a:cs typeface="Nunito Light"/>
                <a:sym typeface="Nunito Light"/>
              </a:rPr>
              <a:t> id </a:t>
            </a:r>
            <a:r>
              <a:rPr lang="en-US" sz="1700" dirty="0" err="1" smtClean="0">
                <a:solidFill>
                  <a:schemeClr val="tx1">
                    <a:lumMod val="85000"/>
                    <a:lumOff val="15000"/>
                  </a:schemeClr>
                </a:solidFill>
                <a:ea typeface="Nunito Light"/>
                <a:cs typeface="Nunito Light"/>
                <a:sym typeface="Nunito Light"/>
              </a:rPr>
              <a:t>cem</a:t>
            </a:r>
            <a:r>
              <a:rPr lang="en-US" sz="1700" dirty="0" smtClean="0">
                <a:solidFill>
                  <a:schemeClr val="tx1">
                    <a:lumMod val="85000"/>
                    <a:lumOff val="15000"/>
                  </a:schemeClr>
                </a:solidFill>
                <a:ea typeface="Nunito Light"/>
                <a:cs typeface="Nunito Light"/>
                <a:sym typeface="Nunito Light"/>
              </a:rPr>
              <a:t>. No quo maiorum </a:t>
            </a:r>
            <a:r>
              <a:rPr lang="en-US" sz="1700" dirty="0" err="1" smtClean="0">
                <a:solidFill>
                  <a:schemeClr val="tx1">
                    <a:lumMod val="85000"/>
                    <a:lumOff val="15000"/>
                  </a:schemeClr>
                </a:solidFill>
                <a:ea typeface="Nunito Light"/>
                <a:cs typeface="Nunito Light"/>
                <a:sym typeface="Nunito Light"/>
              </a:rPr>
              <a:t>intelleget</a:t>
            </a:r>
            <a:r>
              <a:rPr lang="en-US" sz="1700" dirty="0" smtClean="0">
                <a:solidFill>
                  <a:schemeClr val="tx1">
                    <a:lumMod val="85000"/>
                    <a:lumOff val="15000"/>
                  </a:schemeClr>
                </a:solidFill>
                <a:ea typeface="Nunito Light"/>
                <a:cs typeface="Nunito Light"/>
                <a:sym typeface="Nunito Light"/>
              </a:rPr>
              <a:t>. Mea cu case </a:t>
            </a:r>
            <a:r>
              <a:rPr lang="en-US" sz="1700" dirty="0" err="1" smtClean="0">
                <a:solidFill>
                  <a:schemeClr val="tx1">
                    <a:lumMod val="85000"/>
                    <a:lumOff val="15000"/>
                  </a:schemeClr>
                </a:solidFill>
                <a:ea typeface="Nunito Light"/>
                <a:cs typeface="Nunito Light"/>
                <a:sym typeface="Nunito Light"/>
              </a:rPr>
              <a:t>ludus</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integre</a:t>
            </a:r>
            <a:r>
              <a:rPr lang="en-US" sz="1700" dirty="0" smtClean="0">
                <a:solidFill>
                  <a:schemeClr val="tx1">
                    <a:lumMod val="85000"/>
                    <a:lumOff val="15000"/>
                  </a:schemeClr>
                </a:solidFill>
                <a:ea typeface="Nunito Light"/>
                <a:cs typeface="Nunito Light"/>
                <a:sym typeface="Nunito Light"/>
              </a:rPr>
              <a:t>, vide </a:t>
            </a:r>
            <a:r>
              <a:rPr lang="en-US" sz="1700" dirty="0" err="1" smtClean="0">
                <a:solidFill>
                  <a:schemeClr val="tx1">
                    <a:lumMod val="85000"/>
                    <a:lumOff val="15000"/>
                  </a:schemeClr>
                </a:solidFill>
                <a:ea typeface="Nunito Light"/>
                <a:cs typeface="Nunito Light"/>
                <a:sym typeface="Nunito Light"/>
              </a:rPr>
              <a:t>viderer</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eleifend</a:t>
            </a:r>
            <a:r>
              <a:rPr lang="en-US" sz="1700" dirty="0" smtClean="0">
                <a:solidFill>
                  <a:schemeClr val="tx1">
                    <a:lumMod val="85000"/>
                    <a:lumOff val="15000"/>
                  </a:schemeClr>
                </a:solidFill>
                <a:ea typeface="Nunito Light"/>
                <a:cs typeface="Nunito Light"/>
                <a:sym typeface="Nunito Light"/>
              </a:rPr>
              <a:t> ex mea. His at </a:t>
            </a:r>
            <a:r>
              <a:rPr lang="en-US" sz="1700" dirty="0" err="1" smtClean="0">
                <a:solidFill>
                  <a:schemeClr val="tx1">
                    <a:lumMod val="85000"/>
                    <a:lumOff val="15000"/>
                  </a:schemeClr>
                </a:solidFill>
                <a:ea typeface="Nunito Light"/>
                <a:cs typeface="Nunito Light"/>
                <a:sym typeface="Nunito Light"/>
              </a:rPr>
              <a:t>soluta</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regione</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diceret</a:t>
            </a:r>
            <a:r>
              <a:rPr lang="en-US" sz="1700" dirty="0" smtClean="0">
                <a:solidFill>
                  <a:schemeClr val="tx1">
                    <a:lumMod val="85000"/>
                    <a:lumOff val="15000"/>
                  </a:schemeClr>
                </a:solidFill>
                <a:ea typeface="Nunito Light"/>
                <a:cs typeface="Nunito Light"/>
                <a:sym typeface="Nunito Light"/>
              </a:rPr>
              <a:t>, cum et </a:t>
            </a:r>
            <a:r>
              <a:rPr lang="en-US" sz="1700" dirty="0" err="1" smtClean="0">
                <a:solidFill>
                  <a:schemeClr val="tx1">
                    <a:lumMod val="85000"/>
                    <a:lumOff val="15000"/>
                  </a:schemeClr>
                </a:solidFill>
                <a:ea typeface="Nunito Light"/>
                <a:cs typeface="Nunito Light"/>
                <a:sym typeface="Nunito Light"/>
              </a:rPr>
              <a:t>atqui</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placerat</a:t>
            </a:r>
            <a:r>
              <a:rPr lang="en-US" sz="1700" dirty="0" smtClean="0">
                <a:solidFill>
                  <a:schemeClr val="tx1">
                    <a:lumMod val="85000"/>
                    <a:lumOff val="15000"/>
                  </a:schemeClr>
                </a:solidFill>
                <a:ea typeface="Nunito Light"/>
                <a:cs typeface="Nunito Light"/>
                <a:sym typeface="Nunito Light"/>
              </a:rPr>
              <a:t> </a:t>
            </a:r>
            <a:r>
              <a:rPr lang="en-US" sz="1700" dirty="0" err="1" smtClean="0">
                <a:solidFill>
                  <a:schemeClr val="tx1">
                    <a:lumMod val="85000"/>
                    <a:lumOff val="15000"/>
                  </a:schemeClr>
                </a:solidFill>
                <a:ea typeface="Nunito Light"/>
                <a:cs typeface="Nunito Light"/>
                <a:sym typeface="Nunito Light"/>
              </a:rPr>
              <a:t>petentium</a:t>
            </a:r>
            <a:endParaRPr lang="en-US" dirty="0"/>
          </a:p>
        </p:txBody>
      </p:sp>
    </p:spTree>
    <p:extLst>
      <p:ext uri="{BB962C8B-B14F-4D97-AF65-F5344CB8AC3E}">
        <p14:creationId xmlns:p14="http://schemas.microsoft.com/office/powerpoint/2010/main" val="3581517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J">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6499269" y="1150532"/>
            <a:ext cx="5030123" cy="1168972"/>
          </a:xfrm>
        </p:spPr>
        <p:txBody>
          <a:bodyPr anchor="b"/>
          <a:lstStyle>
            <a:lvl1pPr algn="l">
              <a:lnSpc>
                <a:spcPct val="100000"/>
              </a:lnSpc>
              <a:defRPr sz="4800">
                <a:solidFill>
                  <a:schemeClr val="tx1">
                    <a:lumMod val="85000"/>
                    <a:lumOff val="15000"/>
                  </a:schemeClr>
                </a:solidFill>
              </a:defRPr>
            </a:lvl1pPr>
          </a:lstStyle>
          <a:p>
            <a:r>
              <a:rPr lang="en-US" dirty="0"/>
              <a:t>Image and Title</a:t>
            </a:r>
            <a:br>
              <a:rPr lang="en-US" dirty="0"/>
            </a:br>
            <a:r>
              <a:rPr lang="en-US" dirty="0"/>
              <a:t>Headline Goes Here</a:t>
            </a:r>
          </a:p>
        </p:txBody>
      </p:sp>
      <p:sp>
        <p:nvSpPr>
          <p:cNvPr id="20" name="Text Placeholder 3"/>
          <p:cNvSpPr>
            <a:spLocks noGrp="1"/>
          </p:cNvSpPr>
          <p:nvPr>
            <p:ph type="body" sz="quarter" idx="12" hasCustomPrompt="1"/>
          </p:nvPr>
        </p:nvSpPr>
        <p:spPr>
          <a:xfrm>
            <a:off x="6499944" y="2546103"/>
            <a:ext cx="5029505" cy="1436195"/>
          </a:xfrm>
        </p:spPr>
        <p:txBody>
          <a:bodyPr>
            <a:noAutofit/>
          </a:bodyPr>
          <a:lstStyle>
            <a:lvl1pPr marL="0" marR="0" indent="0" algn="l" rtl="0">
              <a:lnSpc>
                <a:spcPts val="2300"/>
              </a:lnSpc>
              <a:spcBef>
                <a:spcPts val="1200"/>
              </a:spcBef>
              <a:spcAft>
                <a:spcPts val="0"/>
              </a:spcAft>
              <a:buSzPct val="25000"/>
              <a:buFontTx/>
              <a:buNone/>
              <a:defRPr sz="1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l" rtl="0">
              <a:lnSpc>
                <a:spcPts val="2300"/>
              </a:lnSpc>
              <a:spcBef>
                <a:spcPts val="0"/>
              </a:spcBef>
              <a:spcAft>
                <a:spcPts val="0"/>
              </a:spcAft>
              <a:buSzPct val="25000"/>
              <a:buNone/>
            </a:pP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 cas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His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icer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cum e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tqu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lacera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tentiu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Per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nonumy</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riculi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eniti</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nd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peirian</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temporibus</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8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am</a:t>
            </a:r>
            <a:r>
              <a:rPr lang="en-US" sz="18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p>
          <a:p>
            <a:pPr lvl="0"/>
            <a:endParaRPr lang="en-US" dirty="0"/>
          </a:p>
        </p:txBody>
      </p:sp>
    </p:spTree>
    <p:extLst>
      <p:ext uri="{BB962C8B-B14F-4D97-AF65-F5344CB8AC3E}">
        <p14:creationId xmlns:p14="http://schemas.microsoft.com/office/powerpoint/2010/main" val="327469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K">
    <p:spTree>
      <p:nvGrpSpPr>
        <p:cNvPr id="1" name=""/>
        <p:cNvGrpSpPr/>
        <p:nvPr/>
      </p:nvGrpSpPr>
      <p:grpSpPr>
        <a:xfrm>
          <a:off x="0" y="0"/>
          <a:ext cx="0" cy="0"/>
          <a:chOff x="0" y="0"/>
          <a:chExt cx="0" cy="0"/>
        </a:xfrm>
      </p:grpSpPr>
      <p:sp>
        <p:nvSpPr>
          <p:cNvPr id="36" name="Text Placeholder 3"/>
          <p:cNvSpPr>
            <a:spLocks noGrp="1"/>
          </p:cNvSpPr>
          <p:nvPr>
            <p:ph type="body" sz="quarter" idx="12" hasCustomPrompt="1"/>
          </p:nvPr>
        </p:nvSpPr>
        <p:spPr>
          <a:xfrm>
            <a:off x="972133" y="4901434"/>
            <a:ext cx="2666226" cy="708524"/>
          </a:xfrm>
        </p:spPr>
        <p:txBody>
          <a:bodyPr>
            <a:noAutofit/>
          </a:bodyPr>
          <a:lstStyle>
            <a:lvl1pPr marL="0" marR="0" indent="0" algn="l"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37" name="Text Placeholder 3"/>
          <p:cNvSpPr>
            <a:spLocks noGrp="1"/>
          </p:cNvSpPr>
          <p:nvPr>
            <p:ph type="body" sz="quarter" idx="15" hasCustomPrompt="1"/>
          </p:nvPr>
        </p:nvSpPr>
        <p:spPr>
          <a:xfrm>
            <a:off x="584600" y="4294541"/>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38" name="Text Placeholder 3"/>
          <p:cNvSpPr>
            <a:spLocks noGrp="1"/>
          </p:cNvSpPr>
          <p:nvPr>
            <p:ph type="body" sz="quarter" idx="16" hasCustomPrompt="1"/>
          </p:nvPr>
        </p:nvSpPr>
        <p:spPr>
          <a:xfrm>
            <a:off x="4778501" y="4901434"/>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39" name="Text Placeholder 3"/>
          <p:cNvSpPr>
            <a:spLocks noGrp="1"/>
          </p:cNvSpPr>
          <p:nvPr>
            <p:ph type="body" sz="quarter" idx="17" hasCustomPrompt="1"/>
          </p:nvPr>
        </p:nvSpPr>
        <p:spPr>
          <a:xfrm>
            <a:off x="4390968" y="4294541"/>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40" name="Text Placeholder 3"/>
          <p:cNvSpPr>
            <a:spLocks noGrp="1"/>
          </p:cNvSpPr>
          <p:nvPr>
            <p:ph type="body" sz="quarter" idx="18" hasCustomPrompt="1"/>
          </p:nvPr>
        </p:nvSpPr>
        <p:spPr>
          <a:xfrm>
            <a:off x="8584870" y="4901434"/>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41" name="Text Placeholder 3"/>
          <p:cNvSpPr>
            <a:spLocks noGrp="1"/>
          </p:cNvSpPr>
          <p:nvPr>
            <p:ph type="body" sz="quarter" idx="19" hasCustomPrompt="1"/>
          </p:nvPr>
        </p:nvSpPr>
        <p:spPr>
          <a:xfrm>
            <a:off x="8197337" y="4294541"/>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12" name="Title 1"/>
          <p:cNvSpPr>
            <a:spLocks noGrp="1"/>
          </p:cNvSpPr>
          <p:nvPr>
            <p:ph type="title"/>
          </p:nvPr>
        </p:nvSpPr>
        <p:spPr>
          <a:xfrm>
            <a:off x="599400" y="432274"/>
            <a:ext cx="10993200" cy="952974"/>
          </a:xfrm>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14" name="Text Placeholder 3"/>
          <p:cNvSpPr>
            <a:spLocks noGrp="1"/>
          </p:cNvSpPr>
          <p:nvPr>
            <p:ph type="body" sz="quarter" idx="21" hasCustomPrompt="1"/>
          </p:nvPr>
        </p:nvSpPr>
        <p:spPr>
          <a:xfrm>
            <a:off x="584600" y="2060226"/>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15" name="Text Placeholder 3"/>
          <p:cNvSpPr>
            <a:spLocks noGrp="1"/>
          </p:cNvSpPr>
          <p:nvPr>
            <p:ph type="body" sz="quarter" idx="22" hasCustomPrompt="1"/>
          </p:nvPr>
        </p:nvSpPr>
        <p:spPr>
          <a:xfrm>
            <a:off x="4778501" y="2667119"/>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16" name="Text Placeholder 3"/>
          <p:cNvSpPr>
            <a:spLocks noGrp="1"/>
          </p:cNvSpPr>
          <p:nvPr>
            <p:ph type="body" sz="quarter" idx="23" hasCustomPrompt="1"/>
          </p:nvPr>
        </p:nvSpPr>
        <p:spPr>
          <a:xfrm>
            <a:off x="4390968" y="2060226"/>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17" name="Text Placeholder 3"/>
          <p:cNvSpPr>
            <a:spLocks noGrp="1"/>
          </p:cNvSpPr>
          <p:nvPr>
            <p:ph type="body" sz="quarter" idx="24" hasCustomPrompt="1"/>
          </p:nvPr>
        </p:nvSpPr>
        <p:spPr>
          <a:xfrm>
            <a:off x="8584870" y="2667119"/>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
        <p:nvSpPr>
          <p:cNvPr id="18" name="Text Placeholder 3"/>
          <p:cNvSpPr>
            <a:spLocks noGrp="1"/>
          </p:cNvSpPr>
          <p:nvPr>
            <p:ph type="body" sz="quarter" idx="25" hasCustomPrompt="1"/>
          </p:nvPr>
        </p:nvSpPr>
        <p:spPr>
          <a:xfrm>
            <a:off x="8197337" y="2060226"/>
            <a:ext cx="3441291" cy="520937"/>
          </a:xfrm>
        </p:spPr>
        <p:txBody>
          <a:bodyPr anchor="b"/>
          <a:lstStyle>
            <a:lvl1pPr marL="0" indent="0" algn="ctr">
              <a:lnSpc>
                <a:spcPct val="100000"/>
              </a:lnSpc>
              <a:buFontTx/>
              <a:buNone/>
              <a:defRPr sz="28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Keywords</a:t>
            </a:r>
          </a:p>
        </p:txBody>
      </p:sp>
      <p:sp>
        <p:nvSpPr>
          <p:cNvPr id="20" name="Text Placeholder 3"/>
          <p:cNvSpPr>
            <a:spLocks noGrp="1"/>
          </p:cNvSpPr>
          <p:nvPr>
            <p:ph type="body" sz="quarter" idx="26" hasCustomPrompt="1"/>
          </p:nvPr>
        </p:nvSpPr>
        <p:spPr>
          <a:xfrm>
            <a:off x="972133" y="2667119"/>
            <a:ext cx="2666226" cy="708524"/>
          </a:xfrm>
        </p:spPr>
        <p:txBody>
          <a:bodyPr>
            <a:noAutofit/>
          </a:bodyPr>
          <a:lstStyle>
            <a:lvl1pPr marL="0" marR="0" indent="0" algn="ctr" defTabSz="914400" rtl="0" eaLnBrk="1" fontAlgn="auto" latinLnBrk="0" hangingPunct="1">
              <a:lnSpc>
                <a:spcPct val="100000"/>
              </a:lnSpc>
              <a:spcBef>
                <a:spcPts val="600"/>
              </a:spcBef>
              <a:spcAft>
                <a:spcPts val="0"/>
              </a:spcAft>
              <a:buClr>
                <a:schemeClr val="accent1"/>
              </a:buClr>
              <a:buSzPct val="25000"/>
              <a:buFontTx/>
              <a:buNone/>
              <a:tabLst/>
              <a:defRPr sz="1400">
                <a:solidFill>
                  <a:schemeClr val="tx1">
                    <a:lumMod val="85000"/>
                    <a:lumOff val="15000"/>
                  </a:schemeClr>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marL="0" marR="0" lvl="0" indent="0" algn="ctr" rtl="0">
              <a:lnSpc>
                <a:spcPct val="100000"/>
              </a:lnSpc>
              <a:spcBef>
                <a:spcPts val="600"/>
              </a:spcBef>
              <a:buSzPct val="25000"/>
              <a:buNone/>
            </a:pP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orem ipsum dolor si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feugiat</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icata</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iberavisse</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id </a:t>
            </a:r>
            <a:r>
              <a:rPr lang="en-US" sz="1500" dirty="0" err="1">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5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No quo maiorum</a:t>
            </a:r>
          </a:p>
        </p:txBody>
      </p:sp>
    </p:spTree>
    <p:extLst>
      <p:ext uri="{BB962C8B-B14F-4D97-AF65-F5344CB8AC3E}">
        <p14:creationId xmlns:p14="http://schemas.microsoft.com/office/powerpoint/2010/main" val="3484422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Bullet Content">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599401" y="1481142"/>
            <a:ext cx="10991850" cy="4156075"/>
          </a:xfrm>
        </p:spPr>
        <p:txBody>
          <a:bodyPr>
            <a:noAutofit/>
          </a:bodyPr>
          <a:lstStyle>
            <a:lvl2pPr marL="338328" indent="-174625">
              <a:buFont typeface="Arial" panose="020B0604020202020204" pitchFamily="34" charset="0"/>
              <a:buChar char="•"/>
              <a:defRPr/>
            </a:lvl2pPr>
            <a:lvl3pPr marL="509588" indent="-161925">
              <a:buFont typeface="Arial" panose="020B0604020202020204" pitchFamily="34" charset="0"/>
              <a:buChar char="•"/>
              <a:defRPr/>
            </a:lvl3pPr>
            <a:lvl4pPr marL="685800" indent="-173736">
              <a:buFont typeface="Arial" panose="020B0604020202020204" pitchFamily="34" charset="0"/>
              <a:buChar char="•"/>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4176174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L">
    <p:spTree>
      <p:nvGrpSpPr>
        <p:cNvPr id="1" name=""/>
        <p:cNvGrpSpPr/>
        <p:nvPr/>
      </p:nvGrpSpPr>
      <p:grpSpPr>
        <a:xfrm>
          <a:off x="0" y="0"/>
          <a:ext cx="0" cy="0"/>
          <a:chOff x="0" y="0"/>
          <a:chExt cx="0" cy="0"/>
        </a:xfrm>
      </p:grpSpPr>
      <p:sp>
        <p:nvSpPr>
          <p:cNvPr id="16" name="Text Placeholder 2"/>
          <p:cNvSpPr>
            <a:spLocks noGrp="1"/>
          </p:cNvSpPr>
          <p:nvPr>
            <p:ph type="body" sz="quarter" idx="34"/>
          </p:nvPr>
        </p:nvSpPr>
        <p:spPr>
          <a:xfrm>
            <a:off x="8139268" y="2018419"/>
            <a:ext cx="3501104" cy="3678023"/>
          </a:xfrm>
        </p:spPr>
        <p:txBody>
          <a:bodyPr>
            <a:noAutofit/>
          </a:bodyPr>
          <a:lstStyle>
            <a:lvl1pPr>
              <a:buClrTx/>
              <a:defRPr sz="1500">
                <a:solidFill>
                  <a:schemeClr val="tx1">
                    <a:lumMod val="85000"/>
                    <a:lumOff val="15000"/>
                  </a:schemeClr>
                </a:solidFill>
              </a:defRPr>
            </a:lvl1pPr>
            <a:lvl2pPr>
              <a:defRPr sz="1500">
                <a:solidFill>
                  <a:schemeClr val="tx1">
                    <a:lumMod val="85000"/>
                    <a:lumOff val="15000"/>
                  </a:schemeClr>
                </a:solidFill>
              </a:defRPr>
            </a:lvl2pPr>
          </a:lstStyle>
          <a:p>
            <a:pPr lvl="0"/>
            <a:r>
              <a:rPr lang="en-US" smtClean="0"/>
              <a:t>Edit Master text styles</a:t>
            </a:r>
          </a:p>
          <a:p>
            <a:pPr lvl="1"/>
            <a:r>
              <a:rPr lang="en-US" smtClean="0"/>
              <a:t>Second level</a:t>
            </a:r>
          </a:p>
        </p:txBody>
      </p:sp>
      <p:sp>
        <p:nvSpPr>
          <p:cNvPr id="15" name="Text Placeholder 2"/>
          <p:cNvSpPr>
            <a:spLocks noGrp="1"/>
          </p:cNvSpPr>
          <p:nvPr>
            <p:ph type="body" sz="quarter" idx="33"/>
          </p:nvPr>
        </p:nvSpPr>
        <p:spPr>
          <a:xfrm>
            <a:off x="571625" y="2018419"/>
            <a:ext cx="3501104" cy="3678023"/>
          </a:xfrm>
        </p:spPr>
        <p:txBody>
          <a:bodyPr>
            <a:noAutofit/>
          </a:bodyPr>
          <a:lstStyle>
            <a:lvl1pPr>
              <a:buClrTx/>
              <a:defRPr sz="1500">
                <a:solidFill>
                  <a:schemeClr val="tx1">
                    <a:lumMod val="85000"/>
                    <a:lumOff val="15000"/>
                  </a:schemeClr>
                </a:solidFill>
              </a:defRPr>
            </a:lvl1pPr>
            <a:lvl2pPr>
              <a:defRPr sz="1500">
                <a:solidFill>
                  <a:schemeClr val="tx1">
                    <a:lumMod val="85000"/>
                    <a:lumOff val="15000"/>
                  </a:schemeClr>
                </a:solidFill>
              </a:defRPr>
            </a:lvl2pPr>
          </a:lstStyle>
          <a:p>
            <a:pPr lvl="0"/>
            <a:r>
              <a:rPr lang="en-US" smtClean="0"/>
              <a:t>Edit Master text styles</a:t>
            </a:r>
          </a:p>
          <a:p>
            <a:pPr lvl="1"/>
            <a:r>
              <a:rPr lang="en-US" smtClean="0"/>
              <a:t>Second level</a:t>
            </a:r>
          </a:p>
        </p:txBody>
      </p:sp>
      <p:sp>
        <p:nvSpPr>
          <p:cNvPr id="8" name="Text Placeholder 3"/>
          <p:cNvSpPr>
            <a:spLocks noGrp="1"/>
          </p:cNvSpPr>
          <p:nvPr>
            <p:ph type="body" sz="quarter" idx="21" hasCustomPrompt="1"/>
          </p:nvPr>
        </p:nvSpPr>
        <p:spPr>
          <a:xfrm>
            <a:off x="572494" y="1410591"/>
            <a:ext cx="3501105" cy="520937"/>
          </a:xfrm>
        </p:spPr>
        <p:txBody>
          <a:bodyPr anchor="b"/>
          <a:lstStyle>
            <a:lvl1pPr marL="0" indent="0" algn="ctr">
              <a:lnSpc>
                <a:spcPct val="100000"/>
              </a:lnSpc>
              <a:buFontTx/>
              <a:buNone/>
              <a:defRPr sz="2400">
                <a:solidFill>
                  <a:schemeClr val="accent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Headline Goes Here</a:t>
            </a:r>
          </a:p>
        </p:txBody>
      </p:sp>
      <p:sp>
        <p:nvSpPr>
          <p:cNvPr id="12" name="Text Placeholder 3"/>
          <p:cNvSpPr>
            <a:spLocks noGrp="1"/>
          </p:cNvSpPr>
          <p:nvPr>
            <p:ph type="body" sz="quarter" idx="27" hasCustomPrompt="1"/>
          </p:nvPr>
        </p:nvSpPr>
        <p:spPr>
          <a:xfrm>
            <a:off x="4357315" y="1410591"/>
            <a:ext cx="3501105" cy="520937"/>
          </a:xfrm>
        </p:spPr>
        <p:txBody>
          <a:bodyPr anchor="b"/>
          <a:lstStyle>
            <a:lvl1pPr marL="0" indent="0" algn="ctr">
              <a:lnSpc>
                <a:spcPct val="100000"/>
              </a:lnSpc>
              <a:buFontTx/>
              <a:buNone/>
              <a:defRPr sz="2400" baseline="0">
                <a:solidFill>
                  <a:schemeClr val="accent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Headline Goes Here</a:t>
            </a:r>
          </a:p>
        </p:txBody>
      </p:sp>
      <p:sp>
        <p:nvSpPr>
          <p:cNvPr id="14" name="Text Placeholder 3"/>
          <p:cNvSpPr>
            <a:spLocks noGrp="1"/>
          </p:cNvSpPr>
          <p:nvPr>
            <p:ph type="body" sz="quarter" idx="29" hasCustomPrompt="1"/>
          </p:nvPr>
        </p:nvSpPr>
        <p:spPr>
          <a:xfrm>
            <a:off x="8142136" y="1410591"/>
            <a:ext cx="3501105" cy="520937"/>
          </a:xfrm>
        </p:spPr>
        <p:txBody>
          <a:bodyPr anchor="b"/>
          <a:lstStyle>
            <a:lvl1pPr marL="0" indent="0" algn="ctr">
              <a:lnSpc>
                <a:spcPct val="100000"/>
              </a:lnSpc>
              <a:buFontTx/>
              <a:buNone/>
              <a:defRPr sz="2400">
                <a:solidFill>
                  <a:schemeClr val="accent1"/>
                </a:solidFill>
              </a:defRPr>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Headline Goes Here</a:t>
            </a:r>
          </a:p>
        </p:txBody>
      </p:sp>
      <p:sp>
        <p:nvSpPr>
          <p:cNvPr id="3" name="Text Placeholder 2"/>
          <p:cNvSpPr>
            <a:spLocks noGrp="1"/>
          </p:cNvSpPr>
          <p:nvPr>
            <p:ph type="body" sz="quarter" idx="31"/>
          </p:nvPr>
        </p:nvSpPr>
        <p:spPr>
          <a:xfrm>
            <a:off x="4357316" y="2017482"/>
            <a:ext cx="3501104" cy="3678023"/>
          </a:xfrm>
        </p:spPr>
        <p:txBody>
          <a:bodyPr>
            <a:noAutofit/>
          </a:bodyPr>
          <a:lstStyle>
            <a:lvl1pPr>
              <a:buClrTx/>
              <a:defRPr sz="1500">
                <a:solidFill>
                  <a:schemeClr val="tx1">
                    <a:lumMod val="85000"/>
                    <a:lumOff val="15000"/>
                  </a:schemeClr>
                </a:solidFill>
              </a:defRPr>
            </a:lvl1pPr>
            <a:lvl2pPr>
              <a:defRPr sz="1500">
                <a:solidFill>
                  <a:schemeClr val="tx1">
                    <a:lumMod val="85000"/>
                    <a:lumOff val="15000"/>
                  </a:schemeClr>
                </a:solidFill>
              </a:defRPr>
            </a:lvl2pPr>
          </a:lstStyle>
          <a:p>
            <a:pPr lvl="0"/>
            <a:r>
              <a:rPr lang="en-US" smtClean="0"/>
              <a:t>Edit Master text styles</a:t>
            </a:r>
          </a:p>
          <a:p>
            <a:pPr lvl="1"/>
            <a:r>
              <a:rPr lang="en-US" smtClean="0"/>
              <a:t>Second level</a:t>
            </a:r>
          </a:p>
        </p:txBody>
      </p:sp>
      <p:sp>
        <p:nvSpPr>
          <p:cNvPr id="18" name="Title 1"/>
          <p:cNvSpPr>
            <a:spLocks noGrp="1"/>
          </p:cNvSpPr>
          <p:nvPr>
            <p:ph type="title"/>
          </p:nvPr>
        </p:nvSpPr>
        <p:spPr>
          <a:xfrm>
            <a:off x="599400" y="432274"/>
            <a:ext cx="10993200" cy="952974"/>
          </a:xfrm>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36895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a:xfrm>
            <a:off x="978408" y="1746503"/>
            <a:ext cx="3794760" cy="1053257"/>
          </a:xfrm>
        </p:spPr>
        <p:txBody>
          <a:bodyPr>
            <a:normAutofit/>
          </a:bodyPr>
          <a:lstStyle>
            <a:lvl1pPr marL="0" indent="0">
              <a:buNone/>
              <a:defRPr sz="3500" baseline="0">
                <a:solidFill>
                  <a:schemeClr val="tx1">
                    <a:lumMod val="85000"/>
                    <a:lumOff val="15000"/>
                  </a:schemeClr>
                </a:solidFill>
              </a:defRPr>
            </a:lvl1pPr>
          </a:lstStyle>
          <a:p>
            <a:pPr lvl="0"/>
            <a:r>
              <a:rPr lang="en-US" sz="3500" dirty="0" smtClean="0"/>
              <a:t>Chart Layout Headline</a:t>
            </a:r>
            <a:endParaRPr lang="en-US" dirty="0"/>
          </a:p>
        </p:txBody>
      </p:sp>
      <p:sp>
        <p:nvSpPr>
          <p:cNvPr id="8" name="Text Placeholder 7"/>
          <p:cNvSpPr>
            <a:spLocks noGrp="1"/>
          </p:cNvSpPr>
          <p:nvPr>
            <p:ph type="body" sz="quarter" idx="11" hasCustomPrompt="1"/>
          </p:nvPr>
        </p:nvSpPr>
        <p:spPr>
          <a:xfrm>
            <a:off x="978408" y="2999232"/>
            <a:ext cx="3794760" cy="2185510"/>
          </a:xfrm>
        </p:spPr>
        <p:txBody>
          <a:bodyPr/>
          <a:lstStyle>
            <a:lvl1pPr marL="0" marR="0" indent="0" algn="l" rtl="0">
              <a:lnSpc>
                <a:spcPts val="2200"/>
              </a:lnSpc>
              <a:spcBef>
                <a:spcPts val="1200"/>
              </a:spcBef>
              <a:spcAft>
                <a:spcPts val="0"/>
              </a:spcAft>
              <a:buSzPct val="25000"/>
              <a:buNone/>
              <a:defRPr sz="2800"/>
            </a:lvl1pPr>
          </a:lstStyle>
          <a:p>
            <a:pPr marL="0" marR="0" lvl="0" indent="0" algn="l" rtl="0">
              <a:lnSpc>
                <a:spcPts val="2200"/>
              </a:lnSpc>
              <a:spcBef>
                <a:spcPts val="0"/>
              </a:spcBef>
              <a:spcAft>
                <a:spcPts val="0"/>
              </a:spcAft>
              <a:buSzPct val="25000"/>
              <a:buNone/>
            </a:pPr>
            <a:r>
              <a:rPr lang="en-US" sz="1800" dirty="0"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Lorem ipsum dolor sit </a:t>
            </a:r>
            <a:r>
              <a:rPr lang="en-US" sz="1800" dirty="0" err="1"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amet</a:t>
            </a:r>
            <a:r>
              <a:rPr lang="en-US" sz="1800" dirty="0"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1800" dirty="0" err="1"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feugiat</a:t>
            </a:r>
            <a:r>
              <a:rPr lang="en-US" sz="1800" dirty="0"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1800" dirty="0" err="1"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delicata</a:t>
            </a:r>
            <a:r>
              <a:rPr lang="en-US" sz="1800" dirty="0"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 </a:t>
            </a:r>
            <a:r>
              <a:rPr lang="en-US" sz="1800" dirty="0" err="1"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liberavisse</a:t>
            </a:r>
            <a:r>
              <a:rPr lang="en-US" sz="1800" dirty="0"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 id </a:t>
            </a:r>
            <a:r>
              <a:rPr lang="en-US" sz="1800" dirty="0" err="1"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cem</a:t>
            </a:r>
            <a:r>
              <a:rPr lang="en-US" sz="1800" dirty="0"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 No quo maiorum </a:t>
            </a:r>
            <a:r>
              <a:rPr lang="en-US" sz="1800" dirty="0" err="1"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intelleget</a:t>
            </a:r>
            <a:r>
              <a:rPr lang="en-US" sz="1800" dirty="0" smtClean="0">
                <a:solidFill>
                  <a:schemeClr val="tx1">
                    <a:lumMod val="85000"/>
                    <a:lumOff val="15000"/>
                  </a:schemeClr>
                </a:solidFill>
                <a:latin typeface="Calibri" panose="020F0502020204030204" pitchFamily="34" charset="0"/>
                <a:ea typeface="Nunito"/>
                <a:cs typeface="Calibri" panose="020F0502020204030204" pitchFamily="34" charset="0"/>
                <a:sym typeface="Nunito"/>
              </a:rPr>
              <a:t>.</a:t>
            </a:r>
          </a:p>
          <a:p>
            <a:pPr marL="0" marR="0" lvl="0" indent="0" algn="l" rtl="0">
              <a:lnSpc>
                <a:spcPts val="2200"/>
              </a:lnSpc>
              <a:spcBef>
                <a:spcPts val="1200"/>
              </a:spcBef>
              <a:buSzPct val="25000"/>
              <a:buNone/>
            </a:pP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Mea cu case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ludus</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integre</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Vide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viderer</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leifend</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x mea. His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soluta</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regione</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iceret</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cem</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e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tqui</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lacerat</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tentium</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Per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amet</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nonumy</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periculis</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ei</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t>
            </a:r>
            <a:r>
              <a:rPr lang="en-US" sz="1600" dirty="0" err="1"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Deleniti</a:t>
            </a:r>
            <a:r>
              <a:rPr lang="en-US" sz="1600" dirty="0" smtClean="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rPr>
              <a:t> and</a:t>
            </a:r>
            <a:endParaRPr lang="en-US" sz="1600" dirty="0">
              <a:solidFill>
                <a:schemeClr val="tx1">
                  <a:lumMod val="85000"/>
                  <a:lumOff val="15000"/>
                </a:schemeClr>
              </a:solidFill>
              <a:latin typeface="Calibri" panose="020F0502020204030204" pitchFamily="34" charset="0"/>
              <a:ea typeface="Nunito Light"/>
              <a:cs typeface="Calibri" panose="020F0502020204030204" pitchFamily="34" charset="0"/>
              <a:sym typeface="Nunito Light"/>
            </a:endParaRPr>
          </a:p>
        </p:txBody>
      </p:sp>
    </p:spTree>
    <p:extLst>
      <p:ext uri="{BB962C8B-B14F-4D97-AF65-F5344CB8AC3E}">
        <p14:creationId xmlns:p14="http://schemas.microsoft.com/office/powerpoint/2010/main" val="4135697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ogo Slide">
    <p:spTree>
      <p:nvGrpSpPr>
        <p:cNvPr id="1" name=""/>
        <p:cNvGrpSpPr/>
        <p:nvPr/>
      </p:nvGrpSpPr>
      <p:grpSpPr>
        <a:xfrm>
          <a:off x="0" y="0"/>
          <a:ext cx="0" cy="0"/>
          <a:chOff x="0" y="0"/>
          <a:chExt cx="0" cy="0"/>
        </a:xfrm>
      </p:grpSpPr>
      <p:sp>
        <p:nvSpPr>
          <p:cNvPr id="133" name="Rectangle 132"/>
          <p:cNvSpPr/>
          <p:nvPr userDrawn="1"/>
        </p:nvSpPr>
        <p:spPr>
          <a:xfrm>
            <a:off x="0" y="5042848"/>
            <a:ext cx="12192000" cy="1815152"/>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8" name="Rectangle 197"/>
          <p:cNvSpPr/>
          <p:nvPr userDrawn="1"/>
        </p:nvSpPr>
        <p:spPr>
          <a:xfrm>
            <a:off x="0" y="-20683"/>
            <a:ext cx="12192000" cy="5459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 name="TextBox 2"/>
          <p:cNvSpPr txBox="1"/>
          <p:nvPr userDrawn="1"/>
        </p:nvSpPr>
        <p:spPr>
          <a:xfrm>
            <a:off x="1846997" y="6230203"/>
            <a:ext cx="8498006" cy="447815"/>
          </a:xfrm>
          <a:prstGeom prst="rect">
            <a:avLst/>
          </a:prstGeom>
          <a:noFill/>
          <a:ln>
            <a:noFill/>
          </a:ln>
        </p:spPr>
        <p:txBody>
          <a:bodyPr wrap="square" lIns="137160" tIns="91440" rIns="0" bIns="91440" rtlCol="0">
            <a:spAutoFit/>
          </a:bodyPr>
          <a:lstStyle/>
          <a:p>
            <a:pPr algn="ctr">
              <a:lnSpc>
                <a:spcPct val="95000"/>
              </a:lnSpc>
              <a:spcBef>
                <a:spcPts val="1200"/>
              </a:spcBef>
            </a:pPr>
            <a:r>
              <a:rPr lang="en-US" sz="900" dirty="0" smtClean="0">
                <a:solidFill>
                  <a:srgbClr val="8E9CA8"/>
                </a:solidFill>
              </a:rPr>
              <a:t>©2019 </a:t>
            </a:r>
            <a:r>
              <a:rPr lang="en-US" sz="900" dirty="0">
                <a:solidFill>
                  <a:srgbClr val="8E9CA8"/>
                </a:solidFill>
              </a:rPr>
              <a:t>Austin Energy. All rights reserved. Austin Energy and the Austin Energy logo and combinations thereof are trademarks of Austin Energy, the electric department of the City of Austin, Texas. Other names are for informational purposes only and may be trademarks of their respective owners.</a:t>
            </a:r>
          </a:p>
        </p:txBody>
      </p:sp>
      <p:sp>
        <p:nvSpPr>
          <p:cNvPr id="199" name="Shape 377"/>
          <p:cNvSpPr/>
          <p:nvPr userDrawn="1"/>
        </p:nvSpPr>
        <p:spPr>
          <a:xfrm>
            <a:off x="4634820" y="5438633"/>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solidFill>
            <a:srgbClr val="C2CAD0"/>
          </a:solidFill>
          <a:ln>
            <a:noFill/>
          </a:ln>
        </p:spPr>
        <p:txBody>
          <a:bodyPr wrap="square" lIns="91425" tIns="45700" rIns="91425" bIns="45700" anchor="ctr" anchorCtr="0">
            <a:noAutofit/>
          </a:bodyPr>
          <a:lstStyle/>
          <a:p>
            <a:pPr marL="0" marR="0" lvl="0" indent="0" algn="ctr" rtl="0">
              <a:spcBef>
                <a:spcPts val="0"/>
              </a:spcBef>
              <a:buNone/>
            </a:pPr>
            <a:endParaRPr sz="2700">
              <a:solidFill>
                <a:schemeClr val="lt1"/>
              </a:solidFill>
              <a:latin typeface="Nunito Light"/>
              <a:ea typeface="Nunito Light"/>
              <a:cs typeface="Nunito Light"/>
              <a:sym typeface="Nunito Light"/>
            </a:endParaRPr>
          </a:p>
        </p:txBody>
      </p:sp>
      <p:grpSp>
        <p:nvGrpSpPr>
          <p:cNvPr id="201" name="Group 200"/>
          <p:cNvGrpSpPr/>
          <p:nvPr userDrawn="1"/>
        </p:nvGrpSpPr>
        <p:grpSpPr>
          <a:xfrm>
            <a:off x="5643342" y="5868538"/>
            <a:ext cx="959908" cy="316031"/>
            <a:chOff x="2811438" y="723330"/>
            <a:chExt cx="4566368" cy="1503387"/>
          </a:xfrm>
        </p:grpSpPr>
        <p:pic>
          <p:nvPicPr>
            <p:cNvPr id="202" name="Picture 22" descr="Image result for facebook twitter youtube icons grey"/>
            <p:cNvPicPr>
              <a:picLocks noChangeAspect="1" noChangeArrowheads="1"/>
            </p:cNvPicPr>
            <p:nvPr userDrawn="1"/>
          </p:nvPicPr>
          <p:blipFill rotWithShape="1">
            <a:blip r:embed="rId2">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2811438" y="723330"/>
              <a:ext cx="3145809" cy="1503387"/>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22" descr="Image result for facebook twitter youtube icons grey"/>
            <p:cNvPicPr>
              <a:picLocks noChangeAspect="1" noChangeArrowheads="1"/>
            </p:cNvPicPr>
            <p:nvPr userDrawn="1"/>
          </p:nvPicPr>
          <p:blipFill rotWithShape="1">
            <a:blip r:embed="rId3">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5920463" y="723330"/>
              <a:ext cx="1457343" cy="1503387"/>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74">
            <a:hlinkClick r:id="rId4"/>
          </p:cNvPr>
          <p:cNvSpPr/>
          <p:nvPr userDrawn="1"/>
        </p:nvSpPr>
        <p:spPr>
          <a:xfrm>
            <a:off x="5622878"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6" name="Rectangle 75">
            <a:hlinkClick r:id="rId5"/>
          </p:cNvPr>
          <p:cNvSpPr/>
          <p:nvPr userDrawn="1"/>
        </p:nvSpPr>
        <p:spPr>
          <a:xfrm>
            <a:off x="5970896"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7" name="Rectangle 76">
            <a:hlinkClick r:id="rId6"/>
          </p:cNvPr>
          <p:cNvSpPr/>
          <p:nvPr userDrawn="1"/>
        </p:nvSpPr>
        <p:spPr>
          <a:xfrm>
            <a:off x="6318914"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78" name="Graphic 77">
            <a:extLst>
              <a:ext uri="{FF2B5EF4-FFF2-40B4-BE49-F238E27FC236}">
                <a16:creationId xmlns="" xmlns:a16="http://schemas.microsoft.com/office/drawing/2014/main" id="{E1CC0797-8031-4086-842B-9E5094A76659}"/>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1122541" y="1264051"/>
            <a:ext cx="9946919" cy="2860273"/>
          </a:xfrm>
          <a:prstGeom prst="rect">
            <a:avLst/>
          </a:prstGeom>
        </p:spPr>
      </p:pic>
    </p:spTree>
    <p:extLst>
      <p:ext uri="{BB962C8B-B14F-4D97-AF65-F5344CB8AC3E}">
        <p14:creationId xmlns:p14="http://schemas.microsoft.com/office/powerpoint/2010/main" val="1417837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Logo Slide">
    <p:spTree>
      <p:nvGrpSpPr>
        <p:cNvPr id="1" name=""/>
        <p:cNvGrpSpPr/>
        <p:nvPr/>
      </p:nvGrpSpPr>
      <p:grpSpPr>
        <a:xfrm>
          <a:off x="0" y="0"/>
          <a:ext cx="0" cy="0"/>
          <a:chOff x="0" y="0"/>
          <a:chExt cx="0" cy="0"/>
        </a:xfrm>
      </p:grpSpPr>
      <p:sp>
        <p:nvSpPr>
          <p:cNvPr id="133" name="Rectangle 132"/>
          <p:cNvSpPr/>
          <p:nvPr userDrawn="1"/>
        </p:nvSpPr>
        <p:spPr>
          <a:xfrm>
            <a:off x="0" y="5042848"/>
            <a:ext cx="12192000" cy="1815152"/>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8" name="Rectangle 197"/>
          <p:cNvSpPr/>
          <p:nvPr userDrawn="1"/>
        </p:nvSpPr>
        <p:spPr>
          <a:xfrm>
            <a:off x="0" y="-20683"/>
            <a:ext cx="12192000" cy="5459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 name="TextBox 2"/>
          <p:cNvSpPr txBox="1"/>
          <p:nvPr userDrawn="1"/>
        </p:nvSpPr>
        <p:spPr>
          <a:xfrm>
            <a:off x="1846997" y="6230203"/>
            <a:ext cx="8498006" cy="447815"/>
          </a:xfrm>
          <a:prstGeom prst="rect">
            <a:avLst/>
          </a:prstGeom>
          <a:noFill/>
          <a:ln>
            <a:noFill/>
          </a:ln>
        </p:spPr>
        <p:txBody>
          <a:bodyPr wrap="square" lIns="137160" tIns="91440" rIns="0" bIns="91440" rtlCol="0">
            <a:spAutoFit/>
          </a:bodyPr>
          <a:lstStyle/>
          <a:p>
            <a:pPr algn="ctr">
              <a:lnSpc>
                <a:spcPct val="95000"/>
              </a:lnSpc>
              <a:spcBef>
                <a:spcPts val="1200"/>
              </a:spcBef>
            </a:pPr>
            <a:r>
              <a:rPr lang="en-US" sz="900" dirty="0" smtClean="0">
                <a:solidFill>
                  <a:srgbClr val="8E9CA8"/>
                </a:solidFill>
              </a:rPr>
              <a:t>©2019 </a:t>
            </a:r>
            <a:r>
              <a:rPr lang="en-US" sz="900" dirty="0">
                <a:solidFill>
                  <a:srgbClr val="8E9CA8"/>
                </a:solidFill>
              </a:rPr>
              <a:t>Austin Energy. All rights reserved. Austin Energy and the Austin Energy logo and combinations thereof are trademarks of Austin Energy, the electric department of the City of Austin, Texas. Other names are for informational purposes only and may be trademarks of their respective owners.</a:t>
            </a:r>
          </a:p>
        </p:txBody>
      </p:sp>
      <p:sp>
        <p:nvSpPr>
          <p:cNvPr id="199" name="Shape 377"/>
          <p:cNvSpPr/>
          <p:nvPr userDrawn="1"/>
        </p:nvSpPr>
        <p:spPr>
          <a:xfrm>
            <a:off x="4634820" y="5438633"/>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solidFill>
            <a:srgbClr val="C2CAD0"/>
          </a:solidFill>
          <a:ln>
            <a:noFill/>
          </a:ln>
        </p:spPr>
        <p:txBody>
          <a:bodyPr wrap="square" lIns="91425" tIns="45700" rIns="91425" bIns="45700" anchor="ctr" anchorCtr="0">
            <a:noAutofit/>
          </a:bodyPr>
          <a:lstStyle/>
          <a:p>
            <a:pPr marL="0" marR="0" lvl="0" indent="0" algn="ctr" rtl="0">
              <a:spcBef>
                <a:spcPts val="0"/>
              </a:spcBef>
              <a:buNone/>
            </a:pPr>
            <a:endParaRPr sz="2700">
              <a:solidFill>
                <a:schemeClr val="lt1"/>
              </a:solidFill>
              <a:latin typeface="Nunito Light"/>
              <a:ea typeface="Nunito Light"/>
              <a:cs typeface="Nunito Light"/>
              <a:sym typeface="Nunito Light"/>
            </a:endParaRPr>
          </a:p>
        </p:txBody>
      </p:sp>
      <p:grpSp>
        <p:nvGrpSpPr>
          <p:cNvPr id="201" name="Group 200"/>
          <p:cNvGrpSpPr/>
          <p:nvPr userDrawn="1"/>
        </p:nvGrpSpPr>
        <p:grpSpPr>
          <a:xfrm>
            <a:off x="5643342" y="5868538"/>
            <a:ext cx="959908" cy="316031"/>
            <a:chOff x="2811438" y="723330"/>
            <a:chExt cx="4566368" cy="1503387"/>
          </a:xfrm>
        </p:grpSpPr>
        <p:pic>
          <p:nvPicPr>
            <p:cNvPr id="202" name="Picture 22" descr="Image result for facebook twitter youtube icons grey"/>
            <p:cNvPicPr>
              <a:picLocks noChangeAspect="1" noChangeArrowheads="1"/>
            </p:cNvPicPr>
            <p:nvPr userDrawn="1"/>
          </p:nvPicPr>
          <p:blipFill rotWithShape="1">
            <a:blip r:embed="rId2">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2811438" y="723330"/>
              <a:ext cx="3145809" cy="1503387"/>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22" descr="Image result for facebook twitter youtube icons grey"/>
            <p:cNvPicPr>
              <a:picLocks noChangeAspect="1" noChangeArrowheads="1"/>
            </p:cNvPicPr>
            <p:nvPr userDrawn="1"/>
          </p:nvPicPr>
          <p:blipFill rotWithShape="1">
            <a:blip r:embed="rId3">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5920463" y="723330"/>
              <a:ext cx="1457343" cy="1503387"/>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Rectangle 74">
            <a:hlinkClick r:id="rId4"/>
          </p:cNvPr>
          <p:cNvSpPr/>
          <p:nvPr userDrawn="1"/>
        </p:nvSpPr>
        <p:spPr>
          <a:xfrm>
            <a:off x="5622878"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6" name="Rectangle 75">
            <a:hlinkClick r:id="rId5"/>
          </p:cNvPr>
          <p:cNvSpPr/>
          <p:nvPr userDrawn="1"/>
        </p:nvSpPr>
        <p:spPr>
          <a:xfrm>
            <a:off x="5970896"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77" name="Rectangle 76">
            <a:hlinkClick r:id="rId6"/>
          </p:cNvPr>
          <p:cNvSpPr/>
          <p:nvPr userDrawn="1"/>
        </p:nvSpPr>
        <p:spPr>
          <a:xfrm>
            <a:off x="6318914"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6" name="Shape 179"/>
          <p:cNvSpPr>
            <a:spLocks noChangeAspect="1"/>
          </p:cNvSpPr>
          <p:nvPr userDrawn="1"/>
        </p:nvSpPr>
        <p:spPr>
          <a:xfrm>
            <a:off x="851137" y="484495"/>
            <a:ext cx="4043428" cy="4448959"/>
          </a:xfrm>
          <a:custGeom>
            <a:avLst/>
            <a:gdLst/>
            <a:ahLst/>
            <a:cxnLst/>
            <a:rect l="0" t="0" r="0" b="0"/>
            <a:pathLst>
              <a:path w="120000" h="120000" extrusionOk="0">
                <a:moveTo>
                  <a:pt x="60000" y="0"/>
                </a:moveTo>
                <a:lnTo>
                  <a:pt x="61669" y="98"/>
                </a:lnTo>
                <a:lnTo>
                  <a:pt x="63250" y="344"/>
                </a:lnTo>
                <a:lnTo>
                  <a:pt x="64831" y="788"/>
                </a:lnTo>
                <a:lnTo>
                  <a:pt x="65534" y="1034"/>
                </a:lnTo>
                <a:lnTo>
                  <a:pt x="66105" y="1330"/>
                </a:lnTo>
                <a:lnTo>
                  <a:pt x="113894" y="25911"/>
                </a:lnTo>
                <a:lnTo>
                  <a:pt x="114465" y="26256"/>
                </a:lnTo>
                <a:lnTo>
                  <a:pt x="115168" y="26699"/>
                </a:lnTo>
                <a:lnTo>
                  <a:pt x="116266" y="27684"/>
                </a:lnTo>
                <a:lnTo>
                  <a:pt x="117320" y="28817"/>
                </a:lnTo>
                <a:lnTo>
                  <a:pt x="118243" y="30049"/>
                </a:lnTo>
                <a:lnTo>
                  <a:pt x="119033" y="31379"/>
                </a:lnTo>
                <a:lnTo>
                  <a:pt x="119516" y="32660"/>
                </a:lnTo>
                <a:lnTo>
                  <a:pt x="119912" y="34088"/>
                </a:lnTo>
                <a:lnTo>
                  <a:pt x="120000" y="34778"/>
                </a:lnTo>
                <a:lnTo>
                  <a:pt x="120000" y="35418"/>
                </a:lnTo>
                <a:lnTo>
                  <a:pt x="120000" y="84581"/>
                </a:lnTo>
                <a:lnTo>
                  <a:pt x="120000" y="85221"/>
                </a:lnTo>
                <a:lnTo>
                  <a:pt x="119912" y="85911"/>
                </a:lnTo>
                <a:lnTo>
                  <a:pt x="119516" y="87339"/>
                </a:lnTo>
                <a:lnTo>
                  <a:pt x="119033" y="88620"/>
                </a:lnTo>
                <a:lnTo>
                  <a:pt x="118243" y="89950"/>
                </a:lnTo>
                <a:lnTo>
                  <a:pt x="117320" y="91182"/>
                </a:lnTo>
                <a:lnTo>
                  <a:pt x="116266" y="92315"/>
                </a:lnTo>
                <a:lnTo>
                  <a:pt x="115168" y="93300"/>
                </a:lnTo>
                <a:lnTo>
                  <a:pt x="114465" y="93743"/>
                </a:lnTo>
                <a:lnTo>
                  <a:pt x="113894" y="94088"/>
                </a:lnTo>
                <a:lnTo>
                  <a:pt x="66105" y="118669"/>
                </a:lnTo>
                <a:lnTo>
                  <a:pt x="65534" y="118965"/>
                </a:lnTo>
                <a:lnTo>
                  <a:pt x="64831" y="119211"/>
                </a:lnTo>
                <a:lnTo>
                  <a:pt x="63250" y="119655"/>
                </a:lnTo>
                <a:lnTo>
                  <a:pt x="61669" y="119901"/>
                </a:lnTo>
                <a:lnTo>
                  <a:pt x="60000" y="120000"/>
                </a:lnTo>
                <a:lnTo>
                  <a:pt x="58330" y="119901"/>
                </a:lnTo>
                <a:lnTo>
                  <a:pt x="56749" y="119655"/>
                </a:lnTo>
                <a:lnTo>
                  <a:pt x="55168" y="119211"/>
                </a:lnTo>
                <a:lnTo>
                  <a:pt x="54465" y="118965"/>
                </a:lnTo>
                <a:lnTo>
                  <a:pt x="53894" y="118669"/>
                </a:lnTo>
                <a:lnTo>
                  <a:pt x="6105" y="94088"/>
                </a:lnTo>
                <a:lnTo>
                  <a:pt x="5534" y="93743"/>
                </a:lnTo>
                <a:lnTo>
                  <a:pt x="4831" y="93300"/>
                </a:lnTo>
                <a:lnTo>
                  <a:pt x="3733" y="92315"/>
                </a:lnTo>
                <a:lnTo>
                  <a:pt x="2679" y="91182"/>
                </a:lnTo>
                <a:lnTo>
                  <a:pt x="1756" y="89950"/>
                </a:lnTo>
                <a:lnTo>
                  <a:pt x="966" y="88620"/>
                </a:lnTo>
                <a:lnTo>
                  <a:pt x="395" y="87339"/>
                </a:lnTo>
                <a:lnTo>
                  <a:pt x="87" y="85911"/>
                </a:lnTo>
                <a:lnTo>
                  <a:pt x="0" y="85221"/>
                </a:lnTo>
                <a:lnTo>
                  <a:pt x="0" y="84581"/>
                </a:lnTo>
                <a:lnTo>
                  <a:pt x="0" y="35418"/>
                </a:lnTo>
                <a:lnTo>
                  <a:pt x="0" y="34778"/>
                </a:lnTo>
                <a:lnTo>
                  <a:pt x="87" y="34088"/>
                </a:lnTo>
                <a:lnTo>
                  <a:pt x="395" y="32660"/>
                </a:lnTo>
                <a:lnTo>
                  <a:pt x="966" y="31379"/>
                </a:lnTo>
                <a:lnTo>
                  <a:pt x="1756" y="30049"/>
                </a:lnTo>
                <a:lnTo>
                  <a:pt x="2679" y="28817"/>
                </a:lnTo>
                <a:lnTo>
                  <a:pt x="3733" y="27684"/>
                </a:lnTo>
                <a:lnTo>
                  <a:pt x="4831" y="26699"/>
                </a:lnTo>
                <a:lnTo>
                  <a:pt x="5534" y="26256"/>
                </a:lnTo>
                <a:lnTo>
                  <a:pt x="6105" y="25911"/>
                </a:lnTo>
                <a:lnTo>
                  <a:pt x="53894" y="1330"/>
                </a:lnTo>
                <a:lnTo>
                  <a:pt x="54465" y="1034"/>
                </a:lnTo>
                <a:lnTo>
                  <a:pt x="55168" y="788"/>
                </a:lnTo>
                <a:lnTo>
                  <a:pt x="56749" y="344"/>
                </a:lnTo>
                <a:lnTo>
                  <a:pt x="58330" y="98"/>
                </a:ln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8100000" scaled="1"/>
            <a:tileRect/>
          </a:gradFill>
          <a:ln>
            <a:noFill/>
          </a:ln>
          <a:effectLst/>
        </p:spPr>
      </p:sp>
      <p:sp>
        <p:nvSpPr>
          <p:cNvPr id="5" name="Text Placeholder 4"/>
          <p:cNvSpPr>
            <a:spLocks noGrp="1"/>
          </p:cNvSpPr>
          <p:nvPr>
            <p:ph type="body" sz="quarter" idx="10" hasCustomPrompt="1"/>
          </p:nvPr>
        </p:nvSpPr>
        <p:spPr>
          <a:xfrm>
            <a:off x="923827" y="1819373"/>
            <a:ext cx="3902697" cy="1819373"/>
          </a:xfrm>
        </p:spPr>
        <p:txBody>
          <a:bodyPr>
            <a:noAutofit/>
          </a:bodyPr>
          <a:lstStyle>
            <a:lvl1pPr marL="0" indent="0" algn="ctr">
              <a:buNone/>
              <a:defRPr sz="2200" baseline="0">
                <a:solidFill>
                  <a:schemeClr val="bg1"/>
                </a:solidFill>
              </a:defRPr>
            </a:lvl1pPr>
            <a:lvl2pPr marL="163703" indent="0">
              <a:buNone/>
              <a:defRPr sz="2400"/>
            </a:lvl2pPr>
            <a:lvl3pPr marL="347663" indent="0">
              <a:buNone/>
              <a:defRPr sz="2000"/>
            </a:lvl3pPr>
            <a:lvl4pPr marL="512064" indent="0">
              <a:buNone/>
              <a:defRPr sz="1800"/>
            </a:lvl4pPr>
            <a:lvl5pPr marL="0" indent="0">
              <a:buFont typeface="Arial" panose="020B0604020202020204" pitchFamily="34" charset="0"/>
              <a:buNone/>
              <a:defRPr sz="2800"/>
            </a:lvl5pPr>
          </a:lstStyle>
          <a:p>
            <a:pPr lvl="0"/>
            <a:r>
              <a:rPr lang="en-US" sz="2200" dirty="0" smtClean="0"/>
              <a:t>Contact me:</a:t>
            </a:r>
          </a:p>
          <a:p>
            <a:pPr lvl="0"/>
            <a:r>
              <a:rPr lang="en-US" sz="2200" dirty="0" smtClean="0"/>
              <a:t>Name</a:t>
            </a:r>
          </a:p>
          <a:p>
            <a:pPr lvl="0"/>
            <a:r>
              <a:rPr lang="en-US" sz="2200" dirty="0" smtClean="0"/>
              <a:t>Email address</a:t>
            </a:r>
          </a:p>
          <a:p>
            <a:pPr lvl="0"/>
            <a:r>
              <a:rPr lang="en-US" sz="2200" dirty="0" smtClean="0"/>
              <a:t>Phone number</a:t>
            </a: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943600" y="1092051"/>
            <a:ext cx="5390646" cy="3233846"/>
          </a:xfrm>
          <a:prstGeom prst="rect">
            <a:avLst/>
          </a:prstGeom>
        </p:spPr>
      </p:pic>
    </p:spTree>
    <p:extLst>
      <p:ext uri="{BB962C8B-B14F-4D97-AF65-F5344CB8AC3E}">
        <p14:creationId xmlns:p14="http://schemas.microsoft.com/office/powerpoint/2010/main" val="710410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ogo Slide 3">
    <p:spTree>
      <p:nvGrpSpPr>
        <p:cNvPr id="1" name=""/>
        <p:cNvGrpSpPr/>
        <p:nvPr/>
      </p:nvGrpSpPr>
      <p:grpSpPr>
        <a:xfrm>
          <a:off x="0" y="0"/>
          <a:ext cx="0" cy="0"/>
          <a:chOff x="0" y="0"/>
          <a:chExt cx="0" cy="0"/>
        </a:xfrm>
      </p:grpSpPr>
      <p:sp>
        <p:nvSpPr>
          <p:cNvPr id="40" name="Rectangle 39"/>
          <p:cNvSpPr/>
          <p:nvPr userDrawn="1"/>
        </p:nvSpPr>
        <p:spPr>
          <a:xfrm>
            <a:off x="0" y="0"/>
            <a:ext cx="12192000" cy="6858000"/>
          </a:xfrm>
          <a:prstGeom prst="rect">
            <a:avLst/>
          </a:pr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5400000" scaled="1"/>
            <a:tileRect/>
          </a:gradFill>
          <a:ln>
            <a:noFill/>
          </a:ln>
        </p:spPr>
        <p:txBody>
          <a:bodyPr wrap="square" lIns="91425" tIns="45700" rIns="91425" bIns="45700" anchor="ctr" anchorCtr="0">
            <a:noAutofit/>
          </a:bodyPr>
          <a:lstStyle/>
          <a:p>
            <a:pPr marR="0" lvl="0" indent="0" algn="ctr">
              <a:spcBef>
                <a:spcPts val="0"/>
              </a:spcBef>
              <a:buNone/>
            </a:pPr>
            <a:endParaRPr lang="en-US" sz="2700" dirty="0" err="1">
              <a:latin typeface="Nunito Light"/>
              <a:ea typeface="Nunito Light"/>
              <a:cs typeface="Nunito Light"/>
            </a:endParaRPr>
          </a:p>
        </p:txBody>
      </p:sp>
      <p:grpSp>
        <p:nvGrpSpPr>
          <p:cNvPr id="2" name="Group 1"/>
          <p:cNvGrpSpPr>
            <a:grpSpLocks noChangeAspect="1"/>
          </p:cNvGrpSpPr>
          <p:nvPr userDrawn="1"/>
        </p:nvGrpSpPr>
        <p:grpSpPr>
          <a:xfrm>
            <a:off x="3902213" y="1694455"/>
            <a:ext cx="4387573" cy="2527687"/>
            <a:chOff x="3902213" y="1694455"/>
            <a:chExt cx="4387573" cy="2527687"/>
          </a:xfrm>
        </p:grpSpPr>
        <p:sp>
          <p:nvSpPr>
            <p:cNvPr id="55" name="Freeform 6"/>
            <p:cNvSpPr>
              <a:spLocks/>
            </p:cNvSpPr>
            <p:nvPr userDrawn="1"/>
          </p:nvSpPr>
          <p:spPr bwMode="auto">
            <a:xfrm>
              <a:off x="3926134" y="1714389"/>
              <a:ext cx="4341723" cy="2485825"/>
            </a:xfrm>
            <a:custGeom>
              <a:avLst/>
              <a:gdLst>
                <a:gd name="T0" fmla="*/ 662 w 2178"/>
                <a:gd name="T1" fmla="*/ 0 h 1247"/>
                <a:gd name="T2" fmla="*/ 670 w 2178"/>
                <a:gd name="T3" fmla="*/ 2 h 1247"/>
                <a:gd name="T4" fmla="*/ 1333 w 2178"/>
                <a:gd name="T5" fmla="*/ 183 h 1247"/>
                <a:gd name="T6" fmla="*/ 1532 w 2178"/>
                <a:gd name="T7" fmla="*/ 208 h 1247"/>
                <a:gd name="T8" fmla="*/ 1713 w 2178"/>
                <a:gd name="T9" fmla="*/ 247 h 1247"/>
                <a:gd name="T10" fmla="*/ 1869 w 2178"/>
                <a:gd name="T11" fmla="*/ 298 h 1247"/>
                <a:gd name="T12" fmla="*/ 1999 w 2178"/>
                <a:gd name="T13" fmla="*/ 360 h 1247"/>
                <a:gd name="T14" fmla="*/ 2095 w 2178"/>
                <a:gd name="T15" fmla="*/ 429 h 1247"/>
                <a:gd name="T16" fmla="*/ 2157 w 2178"/>
                <a:gd name="T17" fmla="*/ 508 h 1247"/>
                <a:gd name="T18" fmla="*/ 2178 w 2178"/>
                <a:gd name="T19" fmla="*/ 591 h 1247"/>
                <a:gd name="T20" fmla="*/ 2160 w 2178"/>
                <a:gd name="T21" fmla="*/ 667 h 1247"/>
                <a:gd name="T22" fmla="*/ 2106 w 2178"/>
                <a:gd name="T23" fmla="*/ 740 h 1247"/>
                <a:gd name="T24" fmla="*/ 2021 w 2178"/>
                <a:gd name="T25" fmla="*/ 806 h 1247"/>
                <a:gd name="T26" fmla="*/ 1908 w 2178"/>
                <a:gd name="T27" fmla="*/ 865 h 1247"/>
                <a:gd name="T28" fmla="*/ 1771 w 2178"/>
                <a:gd name="T29" fmla="*/ 916 h 1247"/>
                <a:gd name="T30" fmla="*/ 1762 w 2178"/>
                <a:gd name="T31" fmla="*/ 972 h 1247"/>
                <a:gd name="T32" fmla="*/ 1588 w 2178"/>
                <a:gd name="T33" fmla="*/ 1009 h 1247"/>
                <a:gd name="T34" fmla="*/ 1855 w 2178"/>
                <a:gd name="T35" fmla="*/ 1202 h 1247"/>
                <a:gd name="T36" fmla="*/ 1866 w 2178"/>
                <a:gd name="T37" fmla="*/ 1211 h 1247"/>
                <a:gd name="T38" fmla="*/ 1869 w 2178"/>
                <a:gd name="T39" fmla="*/ 1225 h 1247"/>
                <a:gd name="T40" fmla="*/ 1857 w 2178"/>
                <a:gd name="T41" fmla="*/ 1244 h 1247"/>
                <a:gd name="T42" fmla="*/ 1837 w 2178"/>
                <a:gd name="T43" fmla="*/ 1247 h 1247"/>
                <a:gd name="T44" fmla="*/ 910 w 2178"/>
                <a:gd name="T45" fmla="*/ 1002 h 1247"/>
                <a:gd name="T46" fmla="*/ 710 w 2178"/>
                <a:gd name="T47" fmla="*/ 982 h 1247"/>
                <a:gd name="T48" fmla="*/ 529 w 2178"/>
                <a:gd name="T49" fmla="*/ 948 h 1247"/>
                <a:gd name="T50" fmla="*/ 367 w 2178"/>
                <a:gd name="T51" fmla="*/ 902 h 1247"/>
                <a:gd name="T52" fmla="*/ 230 w 2178"/>
                <a:gd name="T53" fmla="*/ 847 h 1247"/>
                <a:gd name="T54" fmla="*/ 121 w 2178"/>
                <a:gd name="T55" fmla="*/ 782 h 1247"/>
                <a:gd name="T56" fmla="*/ 46 w 2178"/>
                <a:gd name="T57" fmla="*/ 710 h 1247"/>
                <a:gd name="T58" fmla="*/ 7 w 2178"/>
                <a:gd name="T59" fmla="*/ 631 h 1247"/>
                <a:gd name="T60" fmla="*/ 5 w 2178"/>
                <a:gd name="T61" fmla="*/ 551 h 1247"/>
                <a:gd name="T62" fmla="*/ 40 w 2178"/>
                <a:gd name="T63" fmla="*/ 478 h 1247"/>
                <a:gd name="T64" fmla="*/ 108 w 2178"/>
                <a:gd name="T65" fmla="*/ 410 h 1247"/>
                <a:gd name="T66" fmla="*/ 204 w 2178"/>
                <a:gd name="T67" fmla="*/ 347 h 1247"/>
                <a:gd name="T68" fmla="*/ 327 w 2178"/>
                <a:gd name="T69" fmla="*/ 292 h 1247"/>
                <a:gd name="T70" fmla="*/ 318 w 2178"/>
                <a:gd name="T71" fmla="*/ 240 h 1247"/>
                <a:gd name="T72" fmla="*/ 484 w 2178"/>
                <a:gd name="T73" fmla="*/ 195 h 1247"/>
                <a:gd name="T74" fmla="*/ 192 w 2178"/>
                <a:gd name="T75" fmla="*/ 41 h 1247"/>
                <a:gd name="T76" fmla="*/ 183 w 2178"/>
                <a:gd name="T77" fmla="*/ 33 h 1247"/>
                <a:gd name="T78" fmla="*/ 180 w 2178"/>
                <a:gd name="T79" fmla="*/ 21 h 1247"/>
                <a:gd name="T80" fmla="*/ 183 w 2178"/>
                <a:gd name="T81" fmla="*/ 9 h 1247"/>
                <a:gd name="T82" fmla="*/ 194 w 2178"/>
                <a:gd name="T83" fmla="*/ 2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8" h="1247">
                  <a:moveTo>
                    <a:pt x="201" y="0"/>
                  </a:moveTo>
                  <a:lnTo>
                    <a:pt x="662" y="0"/>
                  </a:lnTo>
                  <a:lnTo>
                    <a:pt x="667" y="2"/>
                  </a:lnTo>
                  <a:lnTo>
                    <a:pt x="670" y="2"/>
                  </a:lnTo>
                  <a:lnTo>
                    <a:pt x="1227" y="177"/>
                  </a:lnTo>
                  <a:lnTo>
                    <a:pt x="1333" y="183"/>
                  </a:lnTo>
                  <a:lnTo>
                    <a:pt x="1435" y="195"/>
                  </a:lnTo>
                  <a:lnTo>
                    <a:pt x="1532" y="208"/>
                  </a:lnTo>
                  <a:lnTo>
                    <a:pt x="1626" y="226"/>
                  </a:lnTo>
                  <a:lnTo>
                    <a:pt x="1713" y="247"/>
                  </a:lnTo>
                  <a:lnTo>
                    <a:pt x="1793" y="271"/>
                  </a:lnTo>
                  <a:lnTo>
                    <a:pt x="1869" y="298"/>
                  </a:lnTo>
                  <a:lnTo>
                    <a:pt x="1937" y="329"/>
                  </a:lnTo>
                  <a:lnTo>
                    <a:pt x="1999" y="360"/>
                  </a:lnTo>
                  <a:lnTo>
                    <a:pt x="2051" y="393"/>
                  </a:lnTo>
                  <a:lnTo>
                    <a:pt x="2095" y="429"/>
                  </a:lnTo>
                  <a:lnTo>
                    <a:pt x="2132" y="469"/>
                  </a:lnTo>
                  <a:lnTo>
                    <a:pt x="2157" y="508"/>
                  </a:lnTo>
                  <a:lnTo>
                    <a:pt x="2172" y="548"/>
                  </a:lnTo>
                  <a:lnTo>
                    <a:pt x="2178" y="591"/>
                  </a:lnTo>
                  <a:lnTo>
                    <a:pt x="2174" y="630"/>
                  </a:lnTo>
                  <a:lnTo>
                    <a:pt x="2160" y="667"/>
                  </a:lnTo>
                  <a:lnTo>
                    <a:pt x="2138" y="704"/>
                  </a:lnTo>
                  <a:lnTo>
                    <a:pt x="2106" y="740"/>
                  </a:lnTo>
                  <a:lnTo>
                    <a:pt x="2068" y="774"/>
                  </a:lnTo>
                  <a:lnTo>
                    <a:pt x="2021" y="806"/>
                  </a:lnTo>
                  <a:lnTo>
                    <a:pt x="1968" y="836"/>
                  </a:lnTo>
                  <a:lnTo>
                    <a:pt x="1908" y="865"/>
                  </a:lnTo>
                  <a:lnTo>
                    <a:pt x="1843" y="892"/>
                  </a:lnTo>
                  <a:lnTo>
                    <a:pt x="1771" y="916"/>
                  </a:lnTo>
                  <a:lnTo>
                    <a:pt x="1694" y="937"/>
                  </a:lnTo>
                  <a:lnTo>
                    <a:pt x="1762" y="972"/>
                  </a:lnTo>
                  <a:lnTo>
                    <a:pt x="1677" y="991"/>
                  </a:lnTo>
                  <a:lnTo>
                    <a:pt x="1588" y="1009"/>
                  </a:lnTo>
                  <a:lnTo>
                    <a:pt x="1494" y="1023"/>
                  </a:lnTo>
                  <a:lnTo>
                    <a:pt x="1855" y="1202"/>
                  </a:lnTo>
                  <a:lnTo>
                    <a:pt x="1861" y="1207"/>
                  </a:lnTo>
                  <a:lnTo>
                    <a:pt x="1866" y="1211"/>
                  </a:lnTo>
                  <a:lnTo>
                    <a:pt x="1869" y="1217"/>
                  </a:lnTo>
                  <a:lnTo>
                    <a:pt x="1869" y="1225"/>
                  </a:lnTo>
                  <a:lnTo>
                    <a:pt x="1866" y="1237"/>
                  </a:lnTo>
                  <a:lnTo>
                    <a:pt x="1857" y="1244"/>
                  </a:lnTo>
                  <a:lnTo>
                    <a:pt x="1845" y="1247"/>
                  </a:lnTo>
                  <a:lnTo>
                    <a:pt x="1837" y="1247"/>
                  </a:lnTo>
                  <a:lnTo>
                    <a:pt x="1014" y="1006"/>
                  </a:lnTo>
                  <a:lnTo>
                    <a:pt x="910" y="1002"/>
                  </a:lnTo>
                  <a:lnTo>
                    <a:pt x="809" y="994"/>
                  </a:lnTo>
                  <a:lnTo>
                    <a:pt x="710" y="982"/>
                  </a:lnTo>
                  <a:lnTo>
                    <a:pt x="617" y="967"/>
                  </a:lnTo>
                  <a:lnTo>
                    <a:pt x="529" y="948"/>
                  </a:lnTo>
                  <a:lnTo>
                    <a:pt x="445" y="926"/>
                  </a:lnTo>
                  <a:lnTo>
                    <a:pt x="367" y="902"/>
                  </a:lnTo>
                  <a:lnTo>
                    <a:pt x="295" y="875"/>
                  </a:lnTo>
                  <a:lnTo>
                    <a:pt x="230" y="847"/>
                  </a:lnTo>
                  <a:lnTo>
                    <a:pt x="173" y="815"/>
                  </a:lnTo>
                  <a:lnTo>
                    <a:pt x="121" y="782"/>
                  </a:lnTo>
                  <a:lnTo>
                    <a:pt x="79" y="747"/>
                  </a:lnTo>
                  <a:lnTo>
                    <a:pt x="46" y="710"/>
                  </a:lnTo>
                  <a:lnTo>
                    <a:pt x="22" y="670"/>
                  </a:lnTo>
                  <a:lnTo>
                    <a:pt x="7" y="631"/>
                  </a:lnTo>
                  <a:lnTo>
                    <a:pt x="0" y="591"/>
                  </a:lnTo>
                  <a:lnTo>
                    <a:pt x="5" y="551"/>
                  </a:lnTo>
                  <a:lnTo>
                    <a:pt x="19" y="514"/>
                  </a:lnTo>
                  <a:lnTo>
                    <a:pt x="40" y="478"/>
                  </a:lnTo>
                  <a:lnTo>
                    <a:pt x="70" y="443"/>
                  </a:lnTo>
                  <a:lnTo>
                    <a:pt x="108" y="410"/>
                  </a:lnTo>
                  <a:lnTo>
                    <a:pt x="153" y="377"/>
                  </a:lnTo>
                  <a:lnTo>
                    <a:pt x="204" y="347"/>
                  </a:lnTo>
                  <a:lnTo>
                    <a:pt x="263" y="318"/>
                  </a:lnTo>
                  <a:lnTo>
                    <a:pt x="327" y="292"/>
                  </a:lnTo>
                  <a:lnTo>
                    <a:pt x="398" y="268"/>
                  </a:lnTo>
                  <a:lnTo>
                    <a:pt x="318" y="240"/>
                  </a:lnTo>
                  <a:lnTo>
                    <a:pt x="398" y="216"/>
                  </a:lnTo>
                  <a:lnTo>
                    <a:pt x="484" y="195"/>
                  </a:lnTo>
                  <a:lnTo>
                    <a:pt x="573" y="177"/>
                  </a:lnTo>
                  <a:lnTo>
                    <a:pt x="192" y="41"/>
                  </a:lnTo>
                  <a:lnTo>
                    <a:pt x="188" y="38"/>
                  </a:lnTo>
                  <a:lnTo>
                    <a:pt x="183" y="33"/>
                  </a:lnTo>
                  <a:lnTo>
                    <a:pt x="180" y="29"/>
                  </a:lnTo>
                  <a:lnTo>
                    <a:pt x="180" y="21"/>
                  </a:lnTo>
                  <a:lnTo>
                    <a:pt x="180" y="15"/>
                  </a:lnTo>
                  <a:lnTo>
                    <a:pt x="183" y="9"/>
                  </a:lnTo>
                  <a:lnTo>
                    <a:pt x="188" y="5"/>
                  </a:lnTo>
                  <a:lnTo>
                    <a:pt x="194" y="2"/>
                  </a:lnTo>
                  <a:lnTo>
                    <a:pt x="2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7"/>
            <p:cNvSpPr>
              <a:spLocks/>
            </p:cNvSpPr>
            <p:nvPr userDrawn="1"/>
          </p:nvSpPr>
          <p:spPr bwMode="auto">
            <a:xfrm>
              <a:off x="4099563" y="2222717"/>
              <a:ext cx="4006824" cy="1331621"/>
            </a:xfrm>
            <a:custGeom>
              <a:avLst/>
              <a:gdLst>
                <a:gd name="T0" fmla="*/ 1107 w 2010"/>
                <a:gd name="T1" fmla="*/ 1 h 668"/>
                <a:gd name="T2" fmla="*/ 1303 w 2010"/>
                <a:gd name="T3" fmla="*/ 15 h 668"/>
                <a:gd name="T4" fmla="*/ 1484 w 2010"/>
                <a:gd name="T5" fmla="*/ 40 h 668"/>
                <a:gd name="T6" fmla="*/ 1644 w 2010"/>
                <a:gd name="T7" fmla="*/ 77 h 668"/>
                <a:gd name="T8" fmla="*/ 1780 w 2010"/>
                <a:gd name="T9" fmla="*/ 122 h 668"/>
                <a:gd name="T10" fmla="*/ 1887 w 2010"/>
                <a:gd name="T11" fmla="*/ 174 h 668"/>
                <a:gd name="T12" fmla="*/ 1964 w 2010"/>
                <a:gd name="T13" fmla="*/ 235 h 668"/>
                <a:gd name="T14" fmla="*/ 2004 w 2010"/>
                <a:gd name="T15" fmla="*/ 299 h 668"/>
                <a:gd name="T16" fmla="*/ 2005 w 2010"/>
                <a:gd name="T17" fmla="*/ 364 h 668"/>
                <a:gd name="T18" fmla="*/ 1975 w 2010"/>
                <a:gd name="T19" fmla="*/ 421 h 668"/>
                <a:gd name="T20" fmla="*/ 1903 w 2010"/>
                <a:gd name="T21" fmla="*/ 477 h 668"/>
                <a:gd name="T22" fmla="*/ 1798 w 2010"/>
                <a:gd name="T23" fmla="*/ 522 h 668"/>
                <a:gd name="T24" fmla="*/ 1665 w 2010"/>
                <a:gd name="T25" fmla="*/ 557 h 668"/>
                <a:gd name="T26" fmla="*/ 1507 w 2010"/>
                <a:gd name="T27" fmla="*/ 580 h 668"/>
                <a:gd name="T28" fmla="*/ 1498 w 2010"/>
                <a:gd name="T29" fmla="*/ 625 h 668"/>
                <a:gd name="T30" fmla="*/ 1314 w 2010"/>
                <a:gd name="T31" fmla="*/ 652 h 668"/>
                <a:gd name="T32" fmla="*/ 1111 w 2010"/>
                <a:gd name="T33" fmla="*/ 667 h 668"/>
                <a:gd name="T34" fmla="*/ 901 w 2010"/>
                <a:gd name="T35" fmla="*/ 667 h 668"/>
                <a:gd name="T36" fmla="*/ 705 w 2010"/>
                <a:gd name="T37" fmla="*/ 653 h 668"/>
                <a:gd name="T38" fmla="*/ 525 w 2010"/>
                <a:gd name="T39" fmla="*/ 628 h 668"/>
                <a:gd name="T40" fmla="*/ 365 w 2010"/>
                <a:gd name="T41" fmla="*/ 592 h 668"/>
                <a:gd name="T42" fmla="*/ 229 w 2010"/>
                <a:gd name="T43" fmla="*/ 546 h 668"/>
                <a:gd name="T44" fmla="*/ 120 w 2010"/>
                <a:gd name="T45" fmla="*/ 494 h 668"/>
                <a:gd name="T46" fmla="*/ 45 w 2010"/>
                <a:gd name="T47" fmla="*/ 434 h 668"/>
                <a:gd name="T48" fmla="*/ 4 w 2010"/>
                <a:gd name="T49" fmla="*/ 369 h 668"/>
                <a:gd name="T50" fmla="*/ 3 w 2010"/>
                <a:gd name="T51" fmla="*/ 304 h 668"/>
                <a:gd name="T52" fmla="*/ 33 w 2010"/>
                <a:gd name="T53" fmla="*/ 248 h 668"/>
                <a:gd name="T54" fmla="*/ 93 w 2010"/>
                <a:gd name="T55" fmla="*/ 196 h 668"/>
                <a:gd name="T56" fmla="*/ 185 w 2010"/>
                <a:gd name="T57" fmla="*/ 152 h 668"/>
                <a:gd name="T58" fmla="*/ 302 w 2010"/>
                <a:gd name="T59" fmla="*/ 117 h 668"/>
                <a:gd name="T60" fmla="*/ 439 w 2010"/>
                <a:gd name="T61" fmla="*/ 93 h 668"/>
                <a:gd name="T62" fmla="*/ 441 w 2010"/>
                <a:gd name="T63" fmla="*/ 57 h 668"/>
                <a:gd name="T64" fmla="*/ 649 w 2010"/>
                <a:gd name="T65" fmla="*/ 21 h 668"/>
                <a:gd name="T66" fmla="*/ 882 w 2010"/>
                <a:gd name="T67" fmla="*/ 3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10" h="668">
                  <a:moveTo>
                    <a:pt x="1004" y="0"/>
                  </a:moveTo>
                  <a:lnTo>
                    <a:pt x="1107" y="1"/>
                  </a:lnTo>
                  <a:lnTo>
                    <a:pt x="1206" y="7"/>
                  </a:lnTo>
                  <a:lnTo>
                    <a:pt x="1303" y="15"/>
                  </a:lnTo>
                  <a:lnTo>
                    <a:pt x="1395" y="27"/>
                  </a:lnTo>
                  <a:lnTo>
                    <a:pt x="1484" y="40"/>
                  </a:lnTo>
                  <a:lnTo>
                    <a:pt x="1566" y="57"/>
                  </a:lnTo>
                  <a:lnTo>
                    <a:pt x="1644" y="77"/>
                  </a:lnTo>
                  <a:lnTo>
                    <a:pt x="1715" y="98"/>
                  </a:lnTo>
                  <a:lnTo>
                    <a:pt x="1780" y="122"/>
                  </a:lnTo>
                  <a:lnTo>
                    <a:pt x="1838" y="147"/>
                  </a:lnTo>
                  <a:lnTo>
                    <a:pt x="1887" y="174"/>
                  </a:lnTo>
                  <a:lnTo>
                    <a:pt x="1931" y="205"/>
                  </a:lnTo>
                  <a:lnTo>
                    <a:pt x="1964" y="235"/>
                  </a:lnTo>
                  <a:lnTo>
                    <a:pt x="1989" y="266"/>
                  </a:lnTo>
                  <a:lnTo>
                    <a:pt x="2004" y="299"/>
                  </a:lnTo>
                  <a:lnTo>
                    <a:pt x="2010" y="334"/>
                  </a:lnTo>
                  <a:lnTo>
                    <a:pt x="2005" y="364"/>
                  </a:lnTo>
                  <a:lnTo>
                    <a:pt x="1993" y="393"/>
                  </a:lnTo>
                  <a:lnTo>
                    <a:pt x="1975" y="421"/>
                  </a:lnTo>
                  <a:lnTo>
                    <a:pt x="1943" y="450"/>
                  </a:lnTo>
                  <a:lnTo>
                    <a:pt x="1903" y="477"/>
                  </a:lnTo>
                  <a:lnTo>
                    <a:pt x="1854" y="501"/>
                  </a:lnTo>
                  <a:lnTo>
                    <a:pt x="1798" y="522"/>
                  </a:lnTo>
                  <a:lnTo>
                    <a:pt x="1735" y="540"/>
                  </a:lnTo>
                  <a:lnTo>
                    <a:pt x="1665" y="557"/>
                  </a:lnTo>
                  <a:lnTo>
                    <a:pt x="1588" y="571"/>
                  </a:lnTo>
                  <a:lnTo>
                    <a:pt x="1507" y="580"/>
                  </a:lnTo>
                  <a:lnTo>
                    <a:pt x="1419" y="587"/>
                  </a:lnTo>
                  <a:lnTo>
                    <a:pt x="1498" y="625"/>
                  </a:lnTo>
                  <a:lnTo>
                    <a:pt x="1409" y="640"/>
                  </a:lnTo>
                  <a:lnTo>
                    <a:pt x="1314" y="652"/>
                  </a:lnTo>
                  <a:lnTo>
                    <a:pt x="1214" y="661"/>
                  </a:lnTo>
                  <a:lnTo>
                    <a:pt x="1111" y="667"/>
                  </a:lnTo>
                  <a:lnTo>
                    <a:pt x="1004" y="668"/>
                  </a:lnTo>
                  <a:lnTo>
                    <a:pt x="901" y="667"/>
                  </a:lnTo>
                  <a:lnTo>
                    <a:pt x="802" y="661"/>
                  </a:lnTo>
                  <a:lnTo>
                    <a:pt x="705" y="653"/>
                  </a:lnTo>
                  <a:lnTo>
                    <a:pt x="613" y="641"/>
                  </a:lnTo>
                  <a:lnTo>
                    <a:pt x="525" y="628"/>
                  </a:lnTo>
                  <a:lnTo>
                    <a:pt x="442" y="611"/>
                  </a:lnTo>
                  <a:lnTo>
                    <a:pt x="365" y="592"/>
                  </a:lnTo>
                  <a:lnTo>
                    <a:pt x="294" y="571"/>
                  </a:lnTo>
                  <a:lnTo>
                    <a:pt x="229" y="546"/>
                  </a:lnTo>
                  <a:lnTo>
                    <a:pt x="170" y="521"/>
                  </a:lnTo>
                  <a:lnTo>
                    <a:pt x="120" y="494"/>
                  </a:lnTo>
                  <a:lnTo>
                    <a:pt x="78" y="464"/>
                  </a:lnTo>
                  <a:lnTo>
                    <a:pt x="45" y="434"/>
                  </a:lnTo>
                  <a:lnTo>
                    <a:pt x="19" y="402"/>
                  </a:lnTo>
                  <a:lnTo>
                    <a:pt x="4" y="369"/>
                  </a:lnTo>
                  <a:lnTo>
                    <a:pt x="0" y="334"/>
                  </a:lnTo>
                  <a:lnTo>
                    <a:pt x="3" y="304"/>
                  </a:lnTo>
                  <a:lnTo>
                    <a:pt x="15" y="275"/>
                  </a:lnTo>
                  <a:lnTo>
                    <a:pt x="33" y="248"/>
                  </a:lnTo>
                  <a:lnTo>
                    <a:pt x="58" y="221"/>
                  </a:lnTo>
                  <a:lnTo>
                    <a:pt x="93" y="196"/>
                  </a:lnTo>
                  <a:lnTo>
                    <a:pt x="136" y="173"/>
                  </a:lnTo>
                  <a:lnTo>
                    <a:pt x="185" y="152"/>
                  </a:lnTo>
                  <a:lnTo>
                    <a:pt x="240" y="134"/>
                  </a:lnTo>
                  <a:lnTo>
                    <a:pt x="302" y="117"/>
                  </a:lnTo>
                  <a:lnTo>
                    <a:pt x="368" y="104"/>
                  </a:lnTo>
                  <a:lnTo>
                    <a:pt x="439" y="93"/>
                  </a:lnTo>
                  <a:lnTo>
                    <a:pt x="516" y="84"/>
                  </a:lnTo>
                  <a:lnTo>
                    <a:pt x="441" y="57"/>
                  </a:lnTo>
                  <a:lnTo>
                    <a:pt x="542" y="37"/>
                  </a:lnTo>
                  <a:lnTo>
                    <a:pt x="649" y="21"/>
                  </a:lnTo>
                  <a:lnTo>
                    <a:pt x="762" y="10"/>
                  </a:lnTo>
                  <a:lnTo>
                    <a:pt x="882" y="3"/>
                  </a:lnTo>
                  <a:lnTo>
                    <a:pt x="100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8"/>
            <p:cNvSpPr>
              <a:spLocks/>
            </p:cNvSpPr>
            <p:nvPr userDrawn="1"/>
          </p:nvSpPr>
          <p:spPr bwMode="auto">
            <a:xfrm>
              <a:off x="4633807" y="2978233"/>
              <a:ext cx="392709" cy="279082"/>
            </a:xfrm>
            <a:custGeom>
              <a:avLst/>
              <a:gdLst>
                <a:gd name="T0" fmla="*/ 28 w 197"/>
                <a:gd name="T1" fmla="*/ 0 h 140"/>
                <a:gd name="T2" fmla="*/ 197 w 197"/>
                <a:gd name="T3" fmla="*/ 0 h 140"/>
                <a:gd name="T4" fmla="*/ 197 w 197"/>
                <a:gd name="T5" fmla="*/ 45 h 140"/>
                <a:gd name="T6" fmla="*/ 156 w 197"/>
                <a:gd name="T7" fmla="*/ 45 h 140"/>
                <a:gd name="T8" fmla="*/ 156 w 197"/>
                <a:gd name="T9" fmla="*/ 24 h 140"/>
                <a:gd name="T10" fmla="*/ 68 w 197"/>
                <a:gd name="T11" fmla="*/ 24 h 140"/>
                <a:gd name="T12" fmla="*/ 68 w 197"/>
                <a:gd name="T13" fmla="*/ 56 h 140"/>
                <a:gd name="T14" fmla="*/ 159 w 197"/>
                <a:gd name="T15" fmla="*/ 56 h 140"/>
                <a:gd name="T16" fmla="*/ 159 w 197"/>
                <a:gd name="T17" fmla="*/ 80 h 140"/>
                <a:gd name="T18" fmla="*/ 68 w 197"/>
                <a:gd name="T19" fmla="*/ 80 h 140"/>
                <a:gd name="T20" fmla="*/ 68 w 197"/>
                <a:gd name="T21" fmla="*/ 115 h 140"/>
                <a:gd name="T22" fmla="*/ 156 w 197"/>
                <a:gd name="T23" fmla="*/ 115 h 140"/>
                <a:gd name="T24" fmla="*/ 156 w 197"/>
                <a:gd name="T25" fmla="*/ 95 h 140"/>
                <a:gd name="T26" fmla="*/ 197 w 197"/>
                <a:gd name="T27" fmla="*/ 95 h 140"/>
                <a:gd name="T28" fmla="*/ 197 w 197"/>
                <a:gd name="T29" fmla="*/ 140 h 140"/>
                <a:gd name="T30" fmla="*/ 28 w 197"/>
                <a:gd name="T31" fmla="*/ 140 h 140"/>
                <a:gd name="T32" fmla="*/ 28 w 197"/>
                <a:gd name="T33" fmla="*/ 80 h 140"/>
                <a:gd name="T34" fmla="*/ 0 w 197"/>
                <a:gd name="T35" fmla="*/ 80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4"/>
                  </a:lnTo>
                  <a:lnTo>
                    <a:pt x="68" y="24"/>
                  </a:lnTo>
                  <a:lnTo>
                    <a:pt x="68" y="56"/>
                  </a:lnTo>
                  <a:lnTo>
                    <a:pt x="159" y="56"/>
                  </a:lnTo>
                  <a:lnTo>
                    <a:pt x="159" y="80"/>
                  </a:lnTo>
                  <a:lnTo>
                    <a:pt x="68" y="80"/>
                  </a:lnTo>
                  <a:lnTo>
                    <a:pt x="68" y="115"/>
                  </a:lnTo>
                  <a:lnTo>
                    <a:pt x="156" y="115"/>
                  </a:lnTo>
                  <a:lnTo>
                    <a:pt x="156" y="95"/>
                  </a:lnTo>
                  <a:lnTo>
                    <a:pt x="197" y="95"/>
                  </a:lnTo>
                  <a:lnTo>
                    <a:pt x="197" y="140"/>
                  </a:lnTo>
                  <a:lnTo>
                    <a:pt x="28" y="140"/>
                  </a:lnTo>
                  <a:lnTo>
                    <a:pt x="28" y="80"/>
                  </a:lnTo>
                  <a:lnTo>
                    <a:pt x="0" y="80"/>
                  </a:lnTo>
                  <a:lnTo>
                    <a:pt x="0" y="56"/>
                  </a:lnTo>
                  <a:lnTo>
                    <a:pt x="28" y="56"/>
                  </a:lnTo>
                  <a:lnTo>
                    <a:pt x="28"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9"/>
            <p:cNvSpPr>
              <a:spLocks/>
            </p:cNvSpPr>
            <p:nvPr userDrawn="1"/>
          </p:nvSpPr>
          <p:spPr bwMode="auto">
            <a:xfrm>
              <a:off x="5182005" y="2972252"/>
              <a:ext cx="368788" cy="291043"/>
            </a:xfrm>
            <a:custGeom>
              <a:avLst/>
              <a:gdLst>
                <a:gd name="T0" fmla="*/ 0 w 185"/>
                <a:gd name="T1" fmla="*/ 0 h 146"/>
                <a:gd name="T2" fmla="*/ 144 w 185"/>
                <a:gd name="T3" fmla="*/ 89 h 146"/>
                <a:gd name="T4" fmla="*/ 144 w 185"/>
                <a:gd name="T5" fmla="*/ 3 h 146"/>
                <a:gd name="T6" fmla="*/ 185 w 185"/>
                <a:gd name="T7" fmla="*/ 3 h 146"/>
                <a:gd name="T8" fmla="*/ 185 w 185"/>
                <a:gd name="T9" fmla="*/ 146 h 146"/>
                <a:gd name="T10" fmla="*/ 41 w 185"/>
                <a:gd name="T11" fmla="*/ 58 h 146"/>
                <a:gd name="T12" fmla="*/ 41 w 185"/>
                <a:gd name="T13" fmla="*/ 143 h 146"/>
                <a:gd name="T14" fmla="*/ 0 w 185"/>
                <a:gd name="T15" fmla="*/ 143 h 146"/>
                <a:gd name="T16" fmla="*/ 0 w 185"/>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146">
                  <a:moveTo>
                    <a:pt x="0" y="0"/>
                  </a:moveTo>
                  <a:lnTo>
                    <a:pt x="144" y="89"/>
                  </a:lnTo>
                  <a:lnTo>
                    <a:pt x="144" y="3"/>
                  </a:lnTo>
                  <a:lnTo>
                    <a:pt x="185" y="3"/>
                  </a:lnTo>
                  <a:lnTo>
                    <a:pt x="185" y="146"/>
                  </a:lnTo>
                  <a:lnTo>
                    <a:pt x="41" y="58"/>
                  </a:lnTo>
                  <a:lnTo>
                    <a:pt x="41" y="143"/>
                  </a:lnTo>
                  <a:lnTo>
                    <a:pt x="0" y="14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0"/>
            <p:cNvSpPr>
              <a:spLocks/>
            </p:cNvSpPr>
            <p:nvPr userDrawn="1"/>
          </p:nvSpPr>
          <p:spPr bwMode="auto">
            <a:xfrm>
              <a:off x="5678372" y="2978233"/>
              <a:ext cx="392709" cy="279082"/>
            </a:xfrm>
            <a:custGeom>
              <a:avLst/>
              <a:gdLst>
                <a:gd name="T0" fmla="*/ 26 w 197"/>
                <a:gd name="T1" fmla="*/ 0 h 140"/>
                <a:gd name="T2" fmla="*/ 197 w 197"/>
                <a:gd name="T3" fmla="*/ 0 h 140"/>
                <a:gd name="T4" fmla="*/ 197 w 197"/>
                <a:gd name="T5" fmla="*/ 45 h 140"/>
                <a:gd name="T6" fmla="*/ 155 w 197"/>
                <a:gd name="T7" fmla="*/ 45 h 140"/>
                <a:gd name="T8" fmla="*/ 155 w 197"/>
                <a:gd name="T9" fmla="*/ 24 h 140"/>
                <a:gd name="T10" fmla="*/ 68 w 197"/>
                <a:gd name="T11" fmla="*/ 24 h 140"/>
                <a:gd name="T12" fmla="*/ 68 w 197"/>
                <a:gd name="T13" fmla="*/ 56 h 140"/>
                <a:gd name="T14" fmla="*/ 158 w 197"/>
                <a:gd name="T15" fmla="*/ 56 h 140"/>
                <a:gd name="T16" fmla="*/ 158 w 197"/>
                <a:gd name="T17" fmla="*/ 80 h 140"/>
                <a:gd name="T18" fmla="*/ 68 w 197"/>
                <a:gd name="T19" fmla="*/ 80 h 140"/>
                <a:gd name="T20" fmla="*/ 68 w 197"/>
                <a:gd name="T21" fmla="*/ 115 h 140"/>
                <a:gd name="T22" fmla="*/ 155 w 197"/>
                <a:gd name="T23" fmla="*/ 115 h 140"/>
                <a:gd name="T24" fmla="*/ 155 w 197"/>
                <a:gd name="T25" fmla="*/ 95 h 140"/>
                <a:gd name="T26" fmla="*/ 197 w 197"/>
                <a:gd name="T27" fmla="*/ 95 h 140"/>
                <a:gd name="T28" fmla="*/ 197 w 197"/>
                <a:gd name="T29" fmla="*/ 140 h 140"/>
                <a:gd name="T30" fmla="*/ 26 w 197"/>
                <a:gd name="T31" fmla="*/ 140 h 140"/>
                <a:gd name="T32" fmla="*/ 26 w 197"/>
                <a:gd name="T33" fmla="*/ 80 h 140"/>
                <a:gd name="T34" fmla="*/ 0 w 197"/>
                <a:gd name="T35" fmla="*/ 80 h 140"/>
                <a:gd name="T36" fmla="*/ 0 w 197"/>
                <a:gd name="T37" fmla="*/ 56 h 140"/>
                <a:gd name="T38" fmla="*/ 26 w 197"/>
                <a:gd name="T39" fmla="*/ 56 h 140"/>
                <a:gd name="T40" fmla="*/ 26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6" y="0"/>
                  </a:moveTo>
                  <a:lnTo>
                    <a:pt x="197" y="0"/>
                  </a:lnTo>
                  <a:lnTo>
                    <a:pt x="197" y="45"/>
                  </a:lnTo>
                  <a:lnTo>
                    <a:pt x="155" y="45"/>
                  </a:lnTo>
                  <a:lnTo>
                    <a:pt x="155" y="24"/>
                  </a:lnTo>
                  <a:lnTo>
                    <a:pt x="68" y="24"/>
                  </a:lnTo>
                  <a:lnTo>
                    <a:pt x="68" y="56"/>
                  </a:lnTo>
                  <a:lnTo>
                    <a:pt x="158" y="56"/>
                  </a:lnTo>
                  <a:lnTo>
                    <a:pt x="158" y="80"/>
                  </a:lnTo>
                  <a:lnTo>
                    <a:pt x="68" y="80"/>
                  </a:lnTo>
                  <a:lnTo>
                    <a:pt x="68" y="115"/>
                  </a:lnTo>
                  <a:lnTo>
                    <a:pt x="155" y="115"/>
                  </a:lnTo>
                  <a:lnTo>
                    <a:pt x="155" y="95"/>
                  </a:lnTo>
                  <a:lnTo>
                    <a:pt x="197" y="95"/>
                  </a:lnTo>
                  <a:lnTo>
                    <a:pt x="197" y="140"/>
                  </a:lnTo>
                  <a:lnTo>
                    <a:pt x="26" y="140"/>
                  </a:lnTo>
                  <a:lnTo>
                    <a:pt x="26" y="80"/>
                  </a:lnTo>
                  <a:lnTo>
                    <a:pt x="0" y="80"/>
                  </a:lnTo>
                  <a:lnTo>
                    <a:pt x="0" y="56"/>
                  </a:lnTo>
                  <a:lnTo>
                    <a:pt x="26" y="56"/>
                  </a:lnTo>
                  <a:lnTo>
                    <a:pt x="26"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1"/>
            <p:cNvSpPr>
              <a:spLocks noEditPoints="1"/>
            </p:cNvSpPr>
            <p:nvPr userDrawn="1"/>
          </p:nvSpPr>
          <p:spPr bwMode="auto">
            <a:xfrm>
              <a:off x="6184707" y="2978233"/>
              <a:ext cx="424604" cy="279082"/>
            </a:xfrm>
            <a:custGeom>
              <a:avLst/>
              <a:gdLst>
                <a:gd name="T0" fmla="*/ 68 w 213"/>
                <a:gd name="T1" fmla="*/ 24 h 140"/>
                <a:gd name="T2" fmla="*/ 68 w 213"/>
                <a:gd name="T3" fmla="*/ 56 h 140"/>
                <a:gd name="T4" fmla="*/ 141 w 213"/>
                <a:gd name="T5" fmla="*/ 56 h 140"/>
                <a:gd name="T6" fmla="*/ 154 w 213"/>
                <a:gd name="T7" fmla="*/ 55 h 140"/>
                <a:gd name="T8" fmla="*/ 163 w 213"/>
                <a:gd name="T9" fmla="*/ 51 h 140"/>
                <a:gd name="T10" fmla="*/ 168 w 213"/>
                <a:gd name="T11" fmla="*/ 45 h 140"/>
                <a:gd name="T12" fmla="*/ 169 w 213"/>
                <a:gd name="T13" fmla="*/ 41 h 140"/>
                <a:gd name="T14" fmla="*/ 168 w 213"/>
                <a:gd name="T15" fmla="*/ 35 h 140"/>
                <a:gd name="T16" fmla="*/ 163 w 213"/>
                <a:gd name="T17" fmla="*/ 30 h 140"/>
                <a:gd name="T18" fmla="*/ 154 w 213"/>
                <a:gd name="T19" fmla="*/ 26 h 140"/>
                <a:gd name="T20" fmla="*/ 141 w 213"/>
                <a:gd name="T21" fmla="*/ 24 h 140"/>
                <a:gd name="T22" fmla="*/ 68 w 213"/>
                <a:gd name="T23" fmla="*/ 24 h 140"/>
                <a:gd name="T24" fmla="*/ 27 w 213"/>
                <a:gd name="T25" fmla="*/ 0 h 140"/>
                <a:gd name="T26" fmla="*/ 138 w 213"/>
                <a:gd name="T27" fmla="*/ 0 h 140"/>
                <a:gd name="T28" fmla="*/ 163 w 213"/>
                <a:gd name="T29" fmla="*/ 2 h 140"/>
                <a:gd name="T30" fmla="*/ 184 w 213"/>
                <a:gd name="T31" fmla="*/ 8 h 140"/>
                <a:gd name="T32" fmla="*/ 198 w 213"/>
                <a:gd name="T33" fmla="*/ 15 h 140"/>
                <a:gd name="T34" fmla="*/ 207 w 213"/>
                <a:gd name="T35" fmla="*/ 27 h 140"/>
                <a:gd name="T36" fmla="*/ 210 w 213"/>
                <a:gd name="T37" fmla="*/ 41 h 140"/>
                <a:gd name="T38" fmla="*/ 209 w 213"/>
                <a:gd name="T39" fmla="*/ 51 h 140"/>
                <a:gd name="T40" fmla="*/ 203 w 213"/>
                <a:gd name="T41" fmla="*/ 62 h 140"/>
                <a:gd name="T42" fmla="*/ 192 w 213"/>
                <a:gd name="T43" fmla="*/ 70 h 140"/>
                <a:gd name="T44" fmla="*/ 175 w 213"/>
                <a:gd name="T45" fmla="*/ 76 h 140"/>
                <a:gd name="T46" fmla="*/ 154 w 213"/>
                <a:gd name="T47" fmla="*/ 80 h 140"/>
                <a:gd name="T48" fmla="*/ 213 w 213"/>
                <a:gd name="T49" fmla="*/ 140 h 140"/>
                <a:gd name="T50" fmla="*/ 165 w 213"/>
                <a:gd name="T51" fmla="*/ 140 h 140"/>
                <a:gd name="T52" fmla="*/ 109 w 213"/>
                <a:gd name="T53" fmla="*/ 80 h 140"/>
                <a:gd name="T54" fmla="*/ 68 w 213"/>
                <a:gd name="T55" fmla="*/ 80 h 140"/>
                <a:gd name="T56" fmla="*/ 68 w 213"/>
                <a:gd name="T57" fmla="*/ 140 h 140"/>
                <a:gd name="T58" fmla="*/ 27 w 213"/>
                <a:gd name="T59" fmla="*/ 140 h 140"/>
                <a:gd name="T60" fmla="*/ 27 w 213"/>
                <a:gd name="T61" fmla="*/ 80 h 140"/>
                <a:gd name="T62" fmla="*/ 0 w 213"/>
                <a:gd name="T63" fmla="*/ 80 h 140"/>
                <a:gd name="T64" fmla="*/ 0 w 213"/>
                <a:gd name="T65" fmla="*/ 56 h 140"/>
                <a:gd name="T66" fmla="*/ 27 w 213"/>
                <a:gd name="T67" fmla="*/ 56 h 140"/>
                <a:gd name="T68" fmla="*/ 27 w 213"/>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140">
                  <a:moveTo>
                    <a:pt x="68" y="24"/>
                  </a:moveTo>
                  <a:lnTo>
                    <a:pt x="68" y="56"/>
                  </a:lnTo>
                  <a:lnTo>
                    <a:pt x="141" y="56"/>
                  </a:lnTo>
                  <a:lnTo>
                    <a:pt x="154" y="55"/>
                  </a:lnTo>
                  <a:lnTo>
                    <a:pt x="163" y="51"/>
                  </a:lnTo>
                  <a:lnTo>
                    <a:pt x="168" y="45"/>
                  </a:lnTo>
                  <a:lnTo>
                    <a:pt x="169" y="41"/>
                  </a:lnTo>
                  <a:lnTo>
                    <a:pt x="168" y="35"/>
                  </a:lnTo>
                  <a:lnTo>
                    <a:pt x="163" y="30"/>
                  </a:lnTo>
                  <a:lnTo>
                    <a:pt x="154" y="26"/>
                  </a:lnTo>
                  <a:lnTo>
                    <a:pt x="141" y="24"/>
                  </a:lnTo>
                  <a:lnTo>
                    <a:pt x="68" y="24"/>
                  </a:lnTo>
                  <a:close/>
                  <a:moveTo>
                    <a:pt x="27" y="0"/>
                  </a:moveTo>
                  <a:lnTo>
                    <a:pt x="138" y="0"/>
                  </a:lnTo>
                  <a:lnTo>
                    <a:pt x="163" y="2"/>
                  </a:lnTo>
                  <a:lnTo>
                    <a:pt x="184" y="8"/>
                  </a:lnTo>
                  <a:lnTo>
                    <a:pt x="198" y="15"/>
                  </a:lnTo>
                  <a:lnTo>
                    <a:pt x="207" y="27"/>
                  </a:lnTo>
                  <a:lnTo>
                    <a:pt x="210" y="41"/>
                  </a:lnTo>
                  <a:lnTo>
                    <a:pt x="209" y="51"/>
                  </a:lnTo>
                  <a:lnTo>
                    <a:pt x="203" y="62"/>
                  </a:lnTo>
                  <a:lnTo>
                    <a:pt x="192" y="70"/>
                  </a:lnTo>
                  <a:lnTo>
                    <a:pt x="175" y="76"/>
                  </a:lnTo>
                  <a:lnTo>
                    <a:pt x="154" y="80"/>
                  </a:lnTo>
                  <a:lnTo>
                    <a:pt x="213" y="140"/>
                  </a:lnTo>
                  <a:lnTo>
                    <a:pt x="165" y="140"/>
                  </a:lnTo>
                  <a:lnTo>
                    <a:pt x="109" y="80"/>
                  </a:lnTo>
                  <a:lnTo>
                    <a:pt x="68" y="80"/>
                  </a:lnTo>
                  <a:lnTo>
                    <a:pt x="68" y="140"/>
                  </a:lnTo>
                  <a:lnTo>
                    <a:pt x="27" y="140"/>
                  </a:lnTo>
                  <a:lnTo>
                    <a:pt x="27" y="80"/>
                  </a:lnTo>
                  <a:lnTo>
                    <a:pt x="0" y="80"/>
                  </a:lnTo>
                  <a:lnTo>
                    <a:pt x="0" y="56"/>
                  </a:lnTo>
                  <a:lnTo>
                    <a:pt x="27" y="56"/>
                  </a:lnTo>
                  <a:lnTo>
                    <a:pt x="2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2"/>
            <p:cNvSpPr>
              <a:spLocks/>
            </p:cNvSpPr>
            <p:nvPr userDrawn="1"/>
          </p:nvSpPr>
          <p:spPr bwMode="auto">
            <a:xfrm>
              <a:off x="6691042" y="2972252"/>
              <a:ext cx="476434" cy="291043"/>
            </a:xfrm>
            <a:custGeom>
              <a:avLst/>
              <a:gdLst>
                <a:gd name="T0" fmla="*/ 119 w 239"/>
                <a:gd name="T1" fmla="*/ 0 h 146"/>
                <a:gd name="T2" fmla="*/ 146 w 239"/>
                <a:gd name="T3" fmla="*/ 2 h 146"/>
                <a:gd name="T4" fmla="*/ 171 w 239"/>
                <a:gd name="T5" fmla="*/ 8 h 146"/>
                <a:gd name="T6" fmla="*/ 195 w 239"/>
                <a:gd name="T7" fmla="*/ 17 h 146"/>
                <a:gd name="T8" fmla="*/ 214 w 239"/>
                <a:gd name="T9" fmla="*/ 29 h 146"/>
                <a:gd name="T10" fmla="*/ 181 w 239"/>
                <a:gd name="T11" fmla="*/ 45 h 146"/>
                <a:gd name="T12" fmla="*/ 165 w 239"/>
                <a:gd name="T13" fmla="*/ 33 h 146"/>
                <a:gd name="T14" fmla="*/ 143 w 239"/>
                <a:gd name="T15" fmla="*/ 27 h 146"/>
                <a:gd name="T16" fmla="*/ 119 w 239"/>
                <a:gd name="T17" fmla="*/ 24 h 146"/>
                <a:gd name="T18" fmla="*/ 97 w 239"/>
                <a:gd name="T19" fmla="*/ 27 h 146"/>
                <a:gd name="T20" fmla="*/ 75 w 239"/>
                <a:gd name="T21" fmla="*/ 33 h 146"/>
                <a:gd name="T22" fmla="*/ 59 w 239"/>
                <a:gd name="T23" fmla="*/ 44 h 146"/>
                <a:gd name="T24" fmla="*/ 47 w 239"/>
                <a:gd name="T25" fmla="*/ 58 h 146"/>
                <a:gd name="T26" fmla="*/ 44 w 239"/>
                <a:gd name="T27" fmla="*/ 73 h 146"/>
                <a:gd name="T28" fmla="*/ 47 w 239"/>
                <a:gd name="T29" fmla="*/ 89 h 146"/>
                <a:gd name="T30" fmla="*/ 59 w 239"/>
                <a:gd name="T31" fmla="*/ 101 h 146"/>
                <a:gd name="T32" fmla="*/ 75 w 239"/>
                <a:gd name="T33" fmla="*/ 112 h 146"/>
                <a:gd name="T34" fmla="*/ 97 w 239"/>
                <a:gd name="T35" fmla="*/ 119 h 146"/>
                <a:gd name="T36" fmla="*/ 119 w 239"/>
                <a:gd name="T37" fmla="*/ 121 h 146"/>
                <a:gd name="T38" fmla="*/ 145 w 239"/>
                <a:gd name="T39" fmla="*/ 119 h 146"/>
                <a:gd name="T40" fmla="*/ 168 w 239"/>
                <a:gd name="T41" fmla="*/ 112 h 146"/>
                <a:gd name="T42" fmla="*/ 184 w 239"/>
                <a:gd name="T43" fmla="*/ 100 h 146"/>
                <a:gd name="T44" fmla="*/ 195 w 239"/>
                <a:gd name="T45" fmla="*/ 83 h 146"/>
                <a:gd name="T46" fmla="*/ 119 w 239"/>
                <a:gd name="T47" fmla="*/ 83 h 146"/>
                <a:gd name="T48" fmla="*/ 119 w 239"/>
                <a:gd name="T49" fmla="*/ 59 h 146"/>
                <a:gd name="T50" fmla="*/ 239 w 239"/>
                <a:gd name="T51" fmla="*/ 59 h 146"/>
                <a:gd name="T52" fmla="*/ 239 w 239"/>
                <a:gd name="T53" fmla="*/ 77 h 146"/>
                <a:gd name="T54" fmla="*/ 237 w 239"/>
                <a:gd name="T55" fmla="*/ 88 h 146"/>
                <a:gd name="T56" fmla="*/ 233 w 239"/>
                <a:gd name="T57" fmla="*/ 98 h 146"/>
                <a:gd name="T58" fmla="*/ 223 w 239"/>
                <a:gd name="T59" fmla="*/ 109 h 146"/>
                <a:gd name="T60" fmla="*/ 211 w 239"/>
                <a:gd name="T61" fmla="*/ 121 h 146"/>
                <a:gd name="T62" fmla="*/ 195 w 239"/>
                <a:gd name="T63" fmla="*/ 130 h 146"/>
                <a:gd name="T64" fmla="*/ 175 w 239"/>
                <a:gd name="T65" fmla="*/ 139 h 146"/>
                <a:gd name="T66" fmla="*/ 149 w 239"/>
                <a:gd name="T67" fmla="*/ 143 h 146"/>
                <a:gd name="T68" fmla="*/ 119 w 239"/>
                <a:gd name="T69" fmla="*/ 146 h 146"/>
                <a:gd name="T70" fmla="*/ 88 w 239"/>
                <a:gd name="T71" fmla="*/ 143 h 146"/>
                <a:gd name="T72" fmla="*/ 59 w 239"/>
                <a:gd name="T73" fmla="*/ 136 h 146"/>
                <a:gd name="T74" fmla="*/ 35 w 239"/>
                <a:gd name="T75" fmla="*/ 125 h 146"/>
                <a:gd name="T76" fmla="*/ 17 w 239"/>
                <a:gd name="T77" fmla="*/ 110 h 146"/>
                <a:gd name="T78" fmla="*/ 4 w 239"/>
                <a:gd name="T79" fmla="*/ 92 h 146"/>
                <a:gd name="T80" fmla="*/ 0 w 239"/>
                <a:gd name="T81" fmla="*/ 73 h 146"/>
                <a:gd name="T82" fmla="*/ 4 w 239"/>
                <a:gd name="T83" fmla="*/ 53 h 146"/>
                <a:gd name="T84" fmla="*/ 17 w 239"/>
                <a:gd name="T85" fmla="*/ 36 h 146"/>
                <a:gd name="T86" fmla="*/ 35 w 239"/>
                <a:gd name="T87" fmla="*/ 21 h 146"/>
                <a:gd name="T88" fmla="*/ 59 w 239"/>
                <a:gd name="T89" fmla="*/ 11 h 146"/>
                <a:gd name="T90" fmla="*/ 88 w 239"/>
                <a:gd name="T91" fmla="*/ 3 h 146"/>
                <a:gd name="T92" fmla="*/ 119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19" y="0"/>
                  </a:moveTo>
                  <a:lnTo>
                    <a:pt x="146" y="2"/>
                  </a:lnTo>
                  <a:lnTo>
                    <a:pt x="171" y="8"/>
                  </a:lnTo>
                  <a:lnTo>
                    <a:pt x="195" y="17"/>
                  </a:lnTo>
                  <a:lnTo>
                    <a:pt x="214" y="29"/>
                  </a:lnTo>
                  <a:lnTo>
                    <a:pt x="181" y="45"/>
                  </a:lnTo>
                  <a:lnTo>
                    <a:pt x="165" y="33"/>
                  </a:lnTo>
                  <a:lnTo>
                    <a:pt x="143" y="27"/>
                  </a:lnTo>
                  <a:lnTo>
                    <a:pt x="119" y="24"/>
                  </a:lnTo>
                  <a:lnTo>
                    <a:pt x="97" y="27"/>
                  </a:lnTo>
                  <a:lnTo>
                    <a:pt x="75" y="33"/>
                  </a:lnTo>
                  <a:lnTo>
                    <a:pt x="59" y="44"/>
                  </a:lnTo>
                  <a:lnTo>
                    <a:pt x="47" y="58"/>
                  </a:lnTo>
                  <a:lnTo>
                    <a:pt x="44" y="73"/>
                  </a:lnTo>
                  <a:lnTo>
                    <a:pt x="47" y="89"/>
                  </a:lnTo>
                  <a:lnTo>
                    <a:pt x="59" y="101"/>
                  </a:lnTo>
                  <a:lnTo>
                    <a:pt x="75" y="112"/>
                  </a:lnTo>
                  <a:lnTo>
                    <a:pt x="97" y="119"/>
                  </a:lnTo>
                  <a:lnTo>
                    <a:pt x="119" y="121"/>
                  </a:lnTo>
                  <a:lnTo>
                    <a:pt x="145" y="119"/>
                  </a:lnTo>
                  <a:lnTo>
                    <a:pt x="168" y="112"/>
                  </a:lnTo>
                  <a:lnTo>
                    <a:pt x="184" y="100"/>
                  </a:lnTo>
                  <a:lnTo>
                    <a:pt x="195" y="83"/>
                  </a:lnTo>
                  <a:lnTo>
                    <a:pt x="119" y="83"/>
                  </a:lnTo>
                  <a:lnTo>
                    <a:pt x="119" y="59"/>
                  </a:lnTo>
                  <a:lnTo>
                    <a:pt x="239" y="59"/>
                  </a:lnTo>
                  <a:lnTo>
                    <a:pt x="239" y="77"/>
                  </a:lnTo>
                  <a:lnTo>
                    <a:pt x="237" y="88"/>
                  </a:lnTo>
                  <a:lnTo>
                    <a:pt x="233" y="98"/>
                  </a:lnTo>
                  <a:lnTo>
                    <a:pt x="223" y="109"/>
                  </a:lnTo>
                  <a:lnTo>
                    <a:pt x="211" y="121"/>
                  </a:lnTo>
                  <a:lnTo>
                    <a:pt x="195" y="130"/>
                  </a:lnTo>
                  <a:lnTo>
                    <a:pt x="175" y="139"/>
                  </a:lnTo>
                  <a:lnTo>
                    <a:pt x="149" y="143"/>
                  </a:lnTo>
                  <a:lnTo>
                    <a:pt x="119" y="146"/>
                  </a:lnTo>
                  <a:lnTo>
                    <a:pt x="88" y="143"/>
                  </a:lnTo>
                  <a:lnTo>
                    <a:pt x="59" y="136"/>
                  </a:lnTo>
                  <a:lnTo>
                    <a:pt x="35" y="125"/>
                  </a:lnTo>
                  <a:lnTo>
                    <a:pt x="17" y="110"/>
                  </a:lnTo>
                  <a:lnTo>
                    <a:pt x="4" y="92"/>
                  </a:lnTo>
                  <a:lnTo>
                    <a:pt x="0" y="73"/>
                  </a:lnTo>
                  <a:lnTo>
                    <a:pt x="4" y="53"/>
                  </a:lnTo>
                  <a:lnTo>
                    <a:pt x="17" y="36"/>
                  </a:lnTo>
                  <a:lnTo>
                    <a:pt x="35" y="21"/>
                  </a:lnTo>
                  <a:lnTo>
                    <a:pt x="59" y="11"/>
                  </a:lnTo>
                  <a:lnTo>
                    <a:pt x="88" y="3"/>
                  </a:lnTo>
                  <a:lnTo>
                    <a:pt x="119"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3"/>
            <p:cNvSpPr>
              <a:spLocks/>
            </p:cNvSpPr>
            <p:nvPr userDrawn="1"/>
          </p:nvSpPr>
          <p:spPr bwMode="auto">
            <a:xfrm>
              <a:off x="7203358" y="2978233"/>
              <a:ext cx="400683" cy="279082"/>
            </a:xfrm>
            <a:custGeom>
              <a:avLst/>
              <a:gdLst>
                <a:gd name="T0" fmla="*/ 0 w 201"/>
                <a:gd name="T1" fmla="*/ 0 h 140"/>
                <a:gd name="T2" fmla="*/ 47 w 201"/>
                <a:gd name="T3" fmla="*/ 0 h 140"/>
                <a:gd name="T4" fmla="*/ 99 w 201"/>
                <a:gd name="T5" fmla="*/ 55 h 140"/>
                <a:gd name="T6" fmla="*/ 152 w 201"/>
                <a:gd name="T7" fmla="*/ 0 h 140"/>
                <a:gd name="T8" fmla="*/ 201 w 201"/>
                <a:gd name="T9" fmla="*/ 0 h 140"/>
                <a:gd name="T10" fmla="*/ 121 w 201"/>
                <a:gd name="T11" fmla="*/ 79 h 140"/>
                <a:gd name="T12" fmla="*/ 121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7" y="0"/>
                  </a:lnTo>
                  <a:lnTo>
                    <a:pt x="99" y="55"/>
                  </a:lnTo>
                  <a:lnTo>
                    <a:pt x="152" y="0"/>
                  </a:lnTo>
                  <a:lnTo>
                    <a:pt x="201" y="0"/>
                  </a:lnTo>
                  <a:lnTo>
                    <a:pt x="121" y="79"/>
                  </a:lnTo>
                  <a:lnTo>
                    <a:pt x="121" y="140"/>
                  </a:lnTo>
                  <a:lnTo>
                    <a:pt x="80" y="140"/>
                  </a:lnTo>
                  <a:lnTo>
                    <a:pt x="80" y="79"/>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14"/>
            <p:cNvSpPr>
              <a:spLocks/>
            </p:cNvSpPr>
            <p:nvPr userDrawn="1"/>
          </p:nvSpPr>
          <p:spPr bwMode="auto">
            <a:xfrm>
              <a:off x="4619853" y="2960291"/>
              <a:ext cx="390715" cy="279082"/>
            </a:xfrm>
            <a:custGeom>
              <a:avLst/>
              <a:gdLst>
                <a:gd name="T0" fmla="*/ 26 w 196"/>
                <a:gd name="T1" fmla="*/ 0 h 140"/>
                <a:gd name="T2" fmla="*/ 196 w 196"/>
                <a:gd name="T3" fmla="*/ 0 h 140"/>
                <a:gd name="T4" fmla="*/ 196 w 196"/>
                <a:gd name="T5" fmla="*/ 45 h 140"/>
                <a:gd name="T6" fmla="*/ 154 w 196"/>
                <a:gd name="T7" fmla="*/ 45 h 140"/>
                <a:gd name="T8" fmla="*/ 154 w 196"/>
                <a:gd name="T9" fmla="*/ 26 h 140"/>
                <a:gd name="T10" fmla="*/ 66 w 196"/>
                <a:gd name="T11" fmla="*/ 26 h 140"/>
                <a:gd name="T12" fmla="*/ 66 w 196"/>
                <a:gd name="T13" fmla="*/ 56 h 140"/>
                <a:gd name="T14" fmla="*/ 157 w 196"/>
                <a:gd name="T15" fmla="*/ 56 h 140"/>
                <a:gd name="T16" fmla="*/ 157 w 196"/>
                <a:gd name="T17" fmla="*/ 82 h 140"/>
                <a:gd name="T18" fmla="*/ 66 w 196"/>
                <a:gd name="T19" fmla="*/ 82 h 140"/>
                <a:gd name="T20" fmla="*/ 66 w 196"/>
                <a:gd name="T21" fmla="*/ 116 h 140"/>
                <a:gd name="T22" fmla="*/ 154 w 196"/>
                <a:gd name="T23" fmla="*/ 116 h 140"/>
                <a:gd name="T24" fmla="*/ 154 w 196"/>
                <a:gd name="T25" fmla="*/ 95 h 140"/>
                <a:gd name="T26" fmla="*/ 196 w 196"/>
                <a:gd name="T27" fmla="*/ 95 h 140"/>
                <a:gd name="T28" fmla="*/ 196 w 196"/>
                <a:gd name="T29" fmla="*/ 140 h 140"/>
                <a:gd name="T30" fmla="*/ 26 w 196"/>
                <a:gd name="T31" fmla="*/ 140 h 140"/>
                <a:gd name="T32" fmla="*/ 26 w 196"/>
                <a:gd name="T33" fmla="*/ 82 h 140"/>
                <a:gd name="T34" fmla="*/ 0 w 196"/>
                <a:gd name="T35" fmla="*/ 82 h 140"/>
                <a:gd name="T36" fmla="*/ 0 w 196"/>
                <a:gd name="T37" fmla="*/ 56 h 140"/>
                <a:gd name="T38" fmla="*/ 26 w 196"/>
                <a:gd name="T39" fmla="*/ 56 h 140"/>
                <a:gd name="T40" fmla="*/ 26 w 196"/>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6" h="140">
                  <a:moveTo>
                    <a:pt x="26" y="0"/>
                  </a:moveTo>
                  <a:lnTo>
                    <a:pt x="196" y="0"/>
                  </a:lnTo>
                  <a:lnTo>
                    <a:pt x="196" y="45"/>
                  </a:lnTo>
                  <a:lnTo>
                    <a:pt x="154" y="45"/>
                  </a:lnTo>
                  <a:lnTo>
                    <a:pt x="154" y="26"/>
                  </a:lnTo>
                  <a:lnTo>
                    <a:pt x="66" y="26"/>
                  </a:lnTo>
                  <a:lnTo>
                    <a:pt x="66" y="56"/>
                  </a:lnTo>
                  <a:lnTo>
                    <a:pt x="157" y="56"/>
                  </a:lnTo>
                  <a:lnTo>
                    <a:pt x="157" y="82"/>
                  </a:lnTo>
                  <a:lnTo>
                    <a:pt x="66" y="82"/>
                  </a:lnTo>
                  <a:lnTo>
                    <a:pt x="66" y="116"/>
                  </a:lnTo>
                  <a:lnTo>
                    <a:pt x="154" y="116"/>
                  </a:lnTo>
                  <a:lnTo>
                    <a:pt x="154" y="95"/>
                  </a:lnTo>
                  <a:lnTo>
                    <a:pt x="196" y="95"/>
                  </a:lnTo>
                  <a:lnTo>
                    <a:pt x="196" y="140"/>
                  </a:lnTo>
                  <a:lnTo>
                    <a:pt x="26" y="140"/>
                  </a:lnTo>
                  <a:lnTo>
                    <a:pt x="26" y="82"/>
                  </a:lnTo>
                  <a:lnTo>
                    <a:pt x="0" y="82"/>
                  </a:lnTo>
                  <a:lnTo>
                    <a:pt x="0" y="56"/>
                  </a:lnTo>
                  <a:lnTo>
                    <a:pt x="26" y="56"/>
                  </a:lnTo>
                  <a:lnTo>
                    <a:pt x="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15"/>
            <p:cNvSpPr>
              <a:spLocks/>
            </p:cNvSpPr>
            <p:nvPr userDrawn="1"/>
          </p:nvSpPr>
          <p:spPr bwMode="auto">
            <a:xfrm>
              <a:off x="5164063" y="2954312"/>
              <a:ext cx="370781" cy="291043"/>
            </a:xfrm>
            <a:custGeom>
              <a:avLst/>
              <a:gdLst>
                <a:gd name="T0" fmla="*/ 0 w 186"/>
                <a:gd name="T1" fmla="*/ 0 h 146"/>
                <a:gd name="T2" fmla="*/ 144 w 186"/>
                <a:gd name="T3" fmla="*/ 89 h 146"/>
                <a:gd name="T4" fmla="*/ 144 w 186"/>
                <a:gd name="T5" fmla="*/ 3 h 146"/>
                <a:gd name="T6" fmla="*/ 186 w 186"/>
                <a:gd name="T7" fmla="*/ 3 h 146"/>
                <a:gd name="T8" fmla="*/ 186 w 186"/>
                <a:gd name="T9" fmla="*/ 146 h 146"/>
                <a:gd name="T10" fmla="*/ 43 w 186"/>
                <a:gd name="T11" fmla="*/ 57 h 146"/>
                <a:gd name="T12" fmla="*/ 43 w 186"/>
                <a:gd name="T13" fmla="*/ 143 h 146"/>
                <a:gd name="T14" fmla="*/ 0 w 186"/>
                <a:gd name="T15" fmla="*/ 143 h 146"/>
                <a:gd name="T16" fmla="*/ 0 w 186"/>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146">
                  <a:moveTo>
                    <a:pt x="0" y="0"/>
                  </a:moveTo>
                  <a:lnTo>
                    <a:pt x="144" y="89"/>
                  </a:lnTo>
                  <a:lnTo>
                    <a:pt x="144" y="3"/>
                  </a:lnTo>
                  <a:lnTo>
                    <a:pt x="186" y="3"/>
                  </a:lnTo>
                  <a:lnTo>
                    <a:pt x="186" y="146"/>
                  </a:lnTo>
                  <a:lnTo>
                    <a:pt x="43" y="57"/>
                  </a:lnTo>
                  <a:lnTo>
                    <a:pt x="43" y="143"/>
                  </a:lnTo>
                  <a:lnTo>
                    <a:pt x="0" y="143"/>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16"/>
            <p:cNvSpPr>
              <a:spLocks/>
            </p:cNvSpPr>
            <p:nvPr userDrawn="1"/>
          </p:nvSpPr>
          <p:spPr bwMode="auto">
            <a:xfrm>
              <a:off x="5660431" y="2960291"/>
              <a:ext cx="392709" cy="279082"/>
            </a:xfrm>
            <a:custGeom>
              <a:avLst/>
              <a:gdLst>
                <a:gd name="T0" fmla="*/ 28 w 197"/>
                <a:gd name="T1" fmla="*/ 0 h 140"/>
                <a:gd name="T2" fmla="*/ 197 w 197"/>
                <a:gd name="T3" fmla="*/ 0 h 140"/>
                <a:gd name="T4" fmla="*/ 197 w 197"/>
                <a:gd name="T5" fmla="*/ 45 h 140"/>
                <a:gd name="T6" fmla="*/ 156 w 197"/>
                <a:gd name="T7" fmla="*/ 45 h 140"/>
                <a:gd name="T8" fmla="*/ 156 w 197"/>
                <a:gd name="T9" fmla="*/ 26 h 140"/>
                <a:gd name="T10" fmla="*/ 68 w 197"/>
                <a:gd name="T11" fmla="*/ 26 h 140"/>
                <a:gd name="T12" fmla="*/ 68 w 197"/>
                <a:gd name="T13" fmla="*/ 56 h 140"/>
                <a:gd name="T14" fmla="*/ 159 w 197"/>
                <a:gd name="T15" fmla="*/ 56 h 140"/>
                <a:gd name="T16" fmla="*/ 159 w 197"/>
                <a:gd name="T17" fmla="*/ 82 h 140"/>
                <a:gd name="T18" fmla="*/ 68 w 197"/>
                <a:gd name="T19" fmla="*/ 82 h 140"/>
                <a:gd name="T20" fmla="*/ 68 w 197"/>
                <a:gd name="T21" fmla="*/ 116 h 140"/>
                <a:gd name="T22" fmla="*/ 156 w 197"/>
                <a:gd name="T23" fmla="*/ 116 h 140"/>
                <a:gd name="T24" fmla="*/ 156 w 197"/>
                <a:gd name="T25" fmla="*/ 95 h 140"/>
                <a:gd name="T26" fmla="*/ 197 w 197"/>
                <a:gd name="T27" fmla="*/ 95 h 140"/>
                <a:gd name="T28" fmla="*/ 197 w 197"/>
                <a:gd name="T29" fmla="*/ 140 h 140"/>
                <a:gd name="T30" fmla="*/ 28 w 197"/>
                <a:gd name="T31" fmla="*/ 140 h 140"/>
                <a:gd name="T32" fmla="*/ 28 w 197"/>
                <a:gd name="T33" fmla="*/ 82 h 140"/>
                <a:gd name="T34" fmla="*/ 0 w 197"/>
                <a:gd name="T35" fmla="*/ 82 h 140"/>
                <a:gd name="T36" fmla="*/ 0 w 197"/>
                <a:gd name="T37" fmla="*/ 56 h 140"/>
                <a:gd name="T38" fmla="*/ 28 w 197"/>
                <a:gd name="T39" fmla="*/ 56 h 140"/>
                <a:gd name="T40" fmla="*/ 28 w 197"/>
                <a:gd name="T4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140">
                  <a:moveTo>
                    <a:pt x="28" y="0"/>
                  </a:moveTo>
                  <a:lnTo>
                    <a:pt x="197" y="0"/>
                  </a:lnTo>
                  <a:lnTo>
                    <a:pt x="197" y="45"/>
                  </a:lnTo>
                  <a:lnTo>
                    <a:pt x="156" y="45"/>
                  </a:lnTo>
                  <a:lnTo>
                    <a:pt x="156" y="26"/>
                  </a:lnTo>
                  <a:lnTo>
                    <a:pt x="68" y="26"/>
                  </a:lnTo>
                  <a:lnTo>
                    <a:pt x="68" y="56"/>
                  </a:lnTo>
                  <a:lnTo>
                    <a:pt x="159" y="56"/>
                  </a:lnTo>
                  <a:lnTo>
                    <a:pt x="159" y="82"/>
                  </a:lnTo>
                  <a:lnTo>
                    <a:pt x="68" y="82"/>
                  </a:lnTo>
                  <a:lnTo>
                    <a:pt x="68" y="116"/>
                  </a:lnTo>
                  <a:lnTo>
                    <a:pt x="156" y="116"/>
                  </a:lnTo>
                  <a:lnTo>
                    <a:pt x="156" y="95"/>
                  </a:lnTo>
                  <a:lnTo>
                    <a:pt x="197" y="95"/>
                  </a:lnTo>
                  <a:lnTo>
                    <a:pt x="197" y="140"/>
                  </a:lnTo>
                  <a:lnTo>
                    <a:pt x="28" y="140"/>
                  </a:lnTo>
                  <a:lnTo>
                    <a:pt x="28" y="82"/>
                  </a:lnTo>
                  <a:lnTo>
                    <a:pt x="0" y="82"/>
                  </a:lnTo>
                  <a:lnTo>
                    <a:pt x="0" y="56"/>
                  </a:lnTo>
                  <a:lnTo>
                    <a:pt x="28" y="56"/>
                  </a:lnTo>
                  <a:lnTo>
                    <a:pt x="2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17"/>
            <p:cNvSpPr>
              <a:spLocks noEditPoints="1"/>
            </p:cNvSpPr>
            <p:nvPr userDrawn="1"/>
          </p:nvSpPr>
          <p:spPr bwMode="auto">
            <a:xfrm>
              <a:off x="6170753" y="2960291"/>
              <a:ext cx="420618" cy="279082"/>
            </a:xfrm>
            <a:custGeom>
              <a:avLst/>
              <a:gdLst>
                <a:gd name="T0" fmla="*/ 66 w 211"/>
                <a:gd name="T1" fmla="*/ 26 h 140"/>
                <a:gd name="T2" fmla="*/ 66 w 211"/>
                <a:gd name="T3" fmla="*/ 56 h 140"/>
                <a:gd name="T4" fmla="*/ 139 w 211"/>
                <a:gd name="T5" fmla="*/ 56 h 140"/>
                <a:gd name="T6" fmla="*/ 152 w 211"/>
                <a:gd name="T7" fmla="*/ 54 h 140"/>
                <a:gd name="T8" fmla="*/ 161 w 211"/>
                <a:gd name="T9" fmla="*/ 51 h 140"/>
                <a:gd name="T10" fmla="*/ 166 w 211"/>
                <a:gd name="T11" fmla="*/ 47 h 140"/>
                <a:gd name="T12" fmla="*/ 167 w 211"/>
                <a:gd name="T13" fmla="*/ 41 h 140"/>
                <a:gd name="T14" fmla="*/ 166 w 211"/>
                <a:gd name="T15" fmla="*/ 35 h 140"/>
                <a:gd name="T16" fmla="*/ 161 w 211"/>
                <a:gd name="T17" fmla="*/ 30 h 140"/>
                <a:gd name="T18" fmla="*/ 152 w 211"/>
                <a:gd name="T19" fmla="*/ 27 h 140"/>
                <a:gd name="T20" fmla="*/ 139 w 211"/>
                <a:gd name="T21" fmla="*/ 26 h 140"/>
                <a:gd name="T22" fmla="*/ 66 w 211"/>
                <a:gd name="T23" fmla="*/ 26 h 140"/>
                <a:gd name="T24" fmla="*/ 25 w 211"/>
                <a:gd name="T25" fmla="*/ 0 h 140"/>
                <a:gd name="T26" fmla="*/ 136 w 211"/>
                <a:gd name="T27" fmla="*/ 0 h 140"/>
                <a:gd name="T28" fmla="*/ 163 w 211"/>
                <a:gd name="T29" fmla="*/ 3 h 140"/>
                <a:gd name="T30" fmla="*/ 182 w 211"/>
                <a:gd name="T31" fmla="*/ 8 h 140"/>
                <a:gd name="T32" fmla="*/ 198 w 211"/>
                <a:gd name="T33" fmla="*/ 17 h 140"/>
                <a:gd name="T34" fmla="*/ 207 w 211"/>
                <a:gd name="T35" fmla="*/ 27 h 140"/>
                <a:gd name="T36" fmla="*/ 210 w 211"/>
                <a:gd name="T37" fmla="*/ 41 h 140"/>
                <a:gd name="T38" fmla="*/ 207 w 211"/>
                <a:gd name="T39" fmla="*/ 51 h 140"/>
                <a:gd name="T40" fmla="*/ 201 w 211"/>
                <a:gd name="T41" fmla="*/ 62 h 140"/>
                <a:gd name="T42" fmla="*/ 190 w 211"/>
                <a:gd name="T43" fmla="*/ 70 h 140"/>
                <a:gd name="T44" fmla="*/ 175 w 211"/>
                <a:gd name="T45" fmla="*/ 77 h 140"/>
                <a:gd name="T46" fmla="*/ 152 w 211"/>
                <a:gd name="T47" fmla="*/ 80 h 140"/>
                <a:gd name="T48" fmla="*/ 211 w 211"/>
                <a:gd name="T49" fmla="*/ 140 h 140"/>
                <a:gd name="T50" fmla="*/ 163 w 211"/>
                <a:gd name="T51" fmla="*/ 140 h 140"/>
                <a:gd name="T52" fmla="*/ 107 w 211"/>
                <a:gd name="T53" fmla="*/ 82 h 140"/>
                <a:gd name="T54" fmla="*/ 66 w 211"/>
                <a:gd name="T55" fmla="*/ 82 h 140"/>
                <a:gd name="T56" fmla="*/ 66 w 211"/>
                <a:gd name="T57" fmla="*/ 140 h 140"/>
                <a:gd name="T58" fmla="*/ 25 w 211"/>
                <a:gd name="T59" fmla="*/ 140 h 140"/>
                <a:gd name="T60" fmla="*/ 25 w 211"/>
                <a:gd name="T61" fmla="*/ 82 h 140"/>
                <a:gd name="T62" fmla="*/ 0 w 211"/>
                <a:gd name="T63" fmla="*/ 82 h 140"/>
                <a:gd name="T64" fmla="*/ 0 w 211"/>
                <a:gd name="T65" fmla="*/ 56 h 140"/>
                <a:gd name="T66" fmla="*/ 25 w 211"/>
                <a:gd name="T67" fmla="*/ 56 h 140"/>
                <a:gd name="T68" fmla="*/ 25 w 211"/>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140">
                  <a:moveTo>
                    <a:pt x="66" y="26"/>
                  </a:moveTo>
                  <a:lnTo>
                    <a:pt x="66" y="56"/>
                  </a:lnTo>
                  <a:lnTo>
                    <a:pt x="139" y="56"/>
                  </a:lnTo>
                  <a:lnTo>
                    <a:pt x="152" y="54"/>
                  </a:lnTo>
                  <a:lnTo>
                    <a:pt x="161" y="51"/>
                  </a:lnTo>
                  <a:lnTo>
                    <a:pt x="166" y="47"/>
                  </a:lnTo>
                  <a:lnTo>
                    <a:pt x="167" y="41"/>
                  </a:lnTo>
                  <a:lnTo>
                    <a:pt x="166" y="35"/>
                  </a:lnTo>
                  <a:lnTo>
                    <a:pt x="161" y="30"/>
                  </a:lnTo>
                  <a:lnTo>
                    <a:pt x="152" y="27"/>
                  </a:lnTo>
                  <a:lnTo>
                    <a:pt x="139" y="26"/>
                  </a:lnTo>
                  <a:lnTo>
                    <a:pt x="66" y="26"/>
                  </a:lnTo>
                  <a:close/>
                  <a:moveTo>
                    <a:pt x="25" y="0"/>
                  </a:moveTo>
                  <a:lnTo>
                    <a:pt x="136" y="0"/>
                  </a:lnTo>
                  <a:lnTo>
                    <a:pt x="163" y="3"/>
                  </a:lnTo>
                  <a:lnTo>
                    <a:pt x="182" y="8"/>
                  </a:lnTo>
                  <a:lnTo>
                    <a:pt x="198" y="17"/>
                  </a:lnTo>
                  <a:lnTo>
                    <a:pt x="207" y="27"/>
                  </a:lnTo>
                  <a:lnTo>
                    <a:pt x="210" y="41"/>
                  </a:lnTo>
                  <a:lnTo>
                    <a:pt x="207" y="51"/>
                  </a:lnTo>
                  <a:lnTo>
                    <a:pt x="201" y="62"/>
                  </a:lnTo>
                  <a:lnTo>
                    <a:pt x="190" y="70"/>
                  </a:lnTo>
                  <a:lnTo>
                    <a:pt x="175" y="77"/>
                  </a:lnTo>
                  <a:lnTo>
                    <a:pt x="152" y="80"/>
                  </a:lnTo>
                  <a:lnTo>
                    <a:pt x="211" y="140"/>
                  </a:lnTo>
                  <a:lnTo>
                    <a:pt x="163" y="140"/>
                  </a:lnTo>
                  <a:lnTo>
                    <a:pt x="107" y="82"/>
                  </a:lnTo>
                  <a:lnTo>
                    <a:pt x="66" y="82"/>
                  </a:lnTo>
                  <a:lnTo>
                    <a:pt x="66" y="140"/>
                  </a:lnTo>
                  <a:lnTo>
                    <a:pt x="25" y="140"/>
                  </a:lnTo>
                  <a:lnTo>
                    <a:pt x="25" y="82"/>
                  </a:lnTo>
                  <a:lnTo>
                    <a:pt x="0" y="82"/>
                  </a:lnTo>
                  <a:lnTo>
                    <a:pt x="0" y="56"/>
                  </a:lnTo>
                  <a:lnTo>
                    <a:pt x="25" y="56"/>
                  </a:lnTo>
                  <a:lnTo>
                    <a:pt x="2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18"/>
            <p:cNvSpPr>
              <a:spLocks/>
            </p:cNvSpPr>
            <p:nvPr userDrawn="1"/>
          </p:nvSpPr>
          <p:spPr bwMode="auto">
            <a:xfrm>
              <a:off x="6675094" y="2954312"/>
              <a:ext cx="476434" cy="291043"/>
            </a:xfrm>
            <a:custGeom>
              <a:avLst/>
              <a:gdLst>
                <a:gd name="T0" fmla="*/ 120 w 239"/>
                <a:gd name="T1" fmla="*/ 0 h 146"/>
                <a:gd name="T2" fmla="*/ 145 w 239"/>
                <a:gd name="T3" fmla="*/ 3 h 146"/>
                <a:gd name="T4" fmla="*/ 171 w 239"/>
                <a:gd name="T5" fmla="*/ 8 h 146"/>
                <a:gd name="T6" fmla="*/ 194 w 239"/>
                <a:gd name="T7" fmla="*/ 17 h 146"/>
                <a:gd name="T8" fmla="*/ 213 w 239"/>
                <a:gd name="T9" fmla="*/ 29 h 146"/>
                <a:gd name="T10" fmla="*/ 180 w 239"/>
                <a:gd name="T11" fmla="*/ 45 h 146"/>
                <a:gd name="T12" fmla="*/ 164 w 239"/>
                <a:gd name="T13" fmla="*/ 35 h 146"/>
                <a:gd name="T14" fmla="*/ 142 w 239"/>
                <a:gd name="T15" fmla="*/ 27 h 146"/>
                <a:gd name="T16" fmla="*/ 120 w 239"/>
                <a:gd name="T17" fmla="*/ 26 h 146"/>
                <a:gd name="T18" fmla="*/ 96 w 239"/>
                <a:gd name="T19" fmla="*/ 27 h 146"/>
                <a:gd name="T20" fmla="*/ 74 w 239"/>
                <a:gd name="T21" fmla="*/ 35 h 146"/>
                <a:gd name="T22" fmla="*/ 58 w 239"/>
                <a:gd name="T23" fmla="*/ 45 h 146"/>
                <a:gd name="T24" fmla="*/ 47 w 239"/>
                <a:gd name="T25" fmla="*/ 57 h 146"/>
                <a:gd name="T26" fmla="*/ 43 w 239"/>
                <a:gd name="T27" fmla="*/ 74 h 146"/>
                <a:gd name="T28" fmla="*/ 47 w 239"/>
                <a:gd name="T29" fmla="*/ 89 h 146"/>
                <a:gd name="T30" fmla="*/ 58 w 239"/>
                <a:gd name="T31" fmla="*/ 103 h 146"/>
                <a:gd name="T32" fmla="*/ 74 w 239"/>
                <a:gd name="T33" fmla="*/ 113 h 146"/>
                <a:gd name="T34" fmla="*/ 96 w 239"/>
                <a:gd name="T35" fmla="*/ 119 h 146"/>
                <a:gd name="T36" fmla="*/ 120 w 239"/>
                <a:gd name="T37" fmla="*/ 122 h 146"/>
                <a:gd name="T38" fmla="*/ 145 w 239"/>
                <a:gd name="T39" fmla="*/ 119 h 146"/>
                <a:gd name="T40" fmla="*/ 168 w 239"/>
                <a:gd name="T41" fmla="*/ 112 h 146"/>
                <a:gd name="T42" fmla="*/ 185 w 239"/>
                <a:gd name="T43" fmla="*/ 100 h 146"/>
                <a:gd name="T44" fmla="*/ 195 w 239"/>
                <a:gd name="T45" fmla="*/ 85 h 146"/>
                <a:gd name="T46" fmla="*/ 118 w 239"/>
                <a:gd name="T47" fmla="*/ 85 h 146"/>
                <a:gd name="T48" fmla="*/ 118 w 239"/>
                <a:gd name="T49" fmla="*/ 59 h 146"/>
                <a:gd name="T50" fmla="*/ 239 w 239"/>
                <a:gd name="T51" fmla="*/ 59 h 146"/>
                <a:gd name="T52" fmla="*/ 239 w 239"/>
                <a:gd name="T53" fmla="*/ 79 h 146"/>
                <a:gd name="T54" fmla="*/ 238 w 239"/>
                <a:gd name="T55" fmla="*/ 88 h 146"/>
                <a:gd name="T56" fmla="*/ 231 w 239"/>
                <a:gd name="T57" fmla="*/ 98 h 146"/>
                <a:gd name="T58" fmla="*/ 224 w 239"/>
                <a:gd name="T59" fmla="*/ 110 h 146"/>
                <a:gd name="T60" fmla="*/ 212 w 239"/>
                <a:gd name="T61" fmla="*/ 121 h 146"/>
                <a:gd name="T62" fmla="*/ 195 w 239"/>
                <a:gd name="T63" fmla="*/ 131 h 146"/>
                <a:gd name="T64" fmla="*/ 174 w 239"/>
                <a:gd name="T65" fmla="*/ 139 h 146"/>
                <a:gd name="T66" fmla="*/ 148 w 239"/>
                <a:gd name="T67" fmla="*/ 145 h 146"/>
                <a:gd name="T68" fmla="*/ 120 w 239"/>
                <a:gd name="T69" fmla="*/ 146 h 146"/>
                <a:gd name="T70" fmla="*/ 86 w 239"/>
                <a:gd name="T71" fmla="*/ 143 h 146"/>
                <a:gd name="T72" fmla="*/ 59 w 239"/>
                <a:gd name="T73" fmla="*/ 136 h 146"/>
                <a:gd name="T74" fmla="*/ 35 w 239"/>
                <a:gd name="T75" fmla="*/ 125 h 146"/>
                <a:gd name="T76" fmla="*/ 15 w 239"/>
                <a:gd name="T77" fmla="*/ 110 h 146"/>
                <a:gd name="T78" fmla="*/ 3 w 239"/>
                <a:gd name="T79" fmla="*/ 94 h 146"/>
                <a:gd name="T80" fmla="*/ 0 w 239"/>
                <a:gd name="T81" fmla="*/ 74 h 146"/>
                <a:gd name="T82" fmla="*/ 3 w 239"/>
                <a:gd name="T83" fmla="*/ 54 h 146"/>
                <a:gd name="T84" fmla="*/ 15 w 239"/>
                <a:gd name="T85" fmla="*/ 36 h 146"/>
                <a:gd name="T86" fmla="*/ 35 w 239"/>
                <a:gd name="T87" fmla="*/ 21 h 146"/>
                <a:gd name="T88" fmla="*/ 59 w 239"/>
                <a:gd name="T89" fmla="*/ 11 h 146"/>
                <a:gd name="T90" fmla="*/ 86 w 239"/>
                <a:gd name="T91" fmla="*/ 3 h 146"/>
                <a:gd name="T92" fmla="*/ 120 w 239"/>
                <a:gd name="T9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9" h="146">
                  <a:moveTo>
                    <a:pt x="120" y="0"/>
                  </a:moveTo>
                  <a:lnTo>
                    <a:pt x="145" y="3"/>
                  </a:lnTo>
                  <a:lnTo>
                    <a:pt x="171" y="8"/>
                  </a:lnTo>
                  <a:lnTo>
                    <a:pt x="194" y="17"/>
                  </a:lnTo>
                  <a:lnTo>
                    <a:pt x="213" y="29"/>
                  </a:lnTo>
                  <a:lnTo>
                    <a:pt x="180" y="45"/>
                  </a:lnTo>
                  <a:lnTo>
                    <a:pt x="164" y="35"/>
                  </a:lnTo>
                  <a:lnTo>
                    <a:pt x="142" y="27"/>
                  </a:lnTo>
                  <a:lnTo>
                    <a:pt x="120" y="26"/>
                  </a:lnTo>
                  <a:lnTo>
                    <a:pt x="96" y="27"/>
                  </a:lnTo>
                  <a:lnTo>
                    <a:pt x="74" y="35"/>
                  </a:lnTo>
                  <a:lnTo>
                    <a:pt x="58" y="45"/>
                  </a:lnTo>
                  <a:lnTo>
                    <a:pt x="47" y="57"/>
                  </a:lnTo>
                  <a:lnTo>
                    <a:pt x="43" y="74"/>
                  </a:lnTo>
                  <a:lnTo>
                    <a:pt x="47" y="89"/>
                  </a:lnTo>
                  <a:lnTo>
                    <a:pt x="58" y="103"/>
                  </a:lnTo>
                  <a:lnTo>
                    <a:pt x="74" y="113"/>
                  </a:lnTo>
                  <a:lnTo>
                    <a:pt x="96" y="119"/>
                  </a:lnTo>
                  <a:lnTo>
                    <a:pt x="120" y="122"/>
                  </a:lnTo>
                  <a:lnTo>
                    <a:pt x="145" y="119"/>
                  </a:lnTo>
                  <a:lnTo>
                    <a:pt x="168" y="112"/>
                  </a:lnTo>
                  <a:lnTo>
                    <a:pt x="185" y="100"/>
                  </a:lnTo>
                  <a:lnTo>
                    <a:pt x="195" y="85"/>
                  </a:lnTo>
                  <a:lnTo>
                    <a:pt x="118" y="85"/>
                  </a:lnTo>
                  <a:lnTo>
                    <a:pt x="118" y="59"/>
                  </a:lnTo>
                  <a:lnTo>
                    <a:pt x="239" y="59"/>
                  </a:lnTo>
                  <a:lnTo>
                    <a:pt x="239" y="79"/>
                  </a:lnTo>
                  <a:lnTo>
                    <a:pt x="238" y="88"/>
                  </a:lnTo>
                  <a:lnTo>
                    <a:pt x="231" y="98"/>
                  </a:lnTo>
                  <a:lnTo>
                    <a:pt x="224" y="110"/>
                  </a:lnTo>
                  <a:lnTo>
                    <a:pt x="212" y="121"/>
                  </a:lnTo>
                  <a:lnTo>
                    <a:pt x="195" y="131"/>
                  </a:lnTo>
                  <a:lnTo>
                    <a:pt x="174" y="139"/>
                  </a:lnTo>
                  <a:lnTo>
                    <a:pt x="148" y="145"/>
                  </a:lnTo>
                  <a:lnTo>
                    <a:pt x="120" y="146"/>
                  </a:lnTo>
                  <a:lnTo>
                    <a:pt x="86" y="143"/>
                  </a:lnTo>
                  <a:lnTo>
                    <a:pt x="59" y="136"/>
                  </a:lnTo>
                  <a:lnTo>
                    <a:pt x="35" y="125"/>
                  </a:lnTo>
                  <a:lnTo>
                    <a:pt x="15" y="110"/>
                  </a:lnTo>
                  <a:lnTo>
                    <a:pt x="3" y="94"/>
                  </a:lnTo>
                  <a:lnTo>
                    <a:pt x="0" y="74"/>
                  </a:lnTo>
                  <a:lnTo>
                    <a:pt x="3" y="54"/>
                  </a:lnTo>
                  <a:lnTo>
                    <a:pt x="15" y="36"/>
                  </a:lnTo>
                  <a:lnTo>
                    <a:pt x="35" y="21"/>
                  </a:lnTo>
                  <a:lnTo>
                    <a:pt x="59" y="11"/>
                  </a:lnTo>
                  <a:lnTo>
                    <a:pt x="86" y="3"/>
                  </a:lnTo>
                  <a:lnTo>
                    <a:pt x="1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19"/>
            <p:cNvSpPr>
              <a:spLocks/>
            </p:cNvSpPr>
            <p:nvPr userDrawn="1"/>
          </p:nvSpPr>
          <p:spPr bwMode="auto">
            <a:xfrm>
              <a:off x="7185416" y="2960291"/>
              <a:ext cx="400683" cy="279082"/>
            </a:xfrm>
            <a:custGeom>
              <a:avLst/>
              <a:gdLst>
                <a:gd name="T0" fmla="*/ 0 w 201"/>
                <a:gd name="T1" fmla="*/ 0 h 140"/>
                <a:gd name="T2" fmla="*/ 48 w 201"/>
                <a:gd name="T3" fmla="*/ 0 h 140"/>
                <a:gd name="T4" fmla="*/ 101 w 201"/>
                <a:gd name="T5" fmla="*/ 54 h 140"/>
                <a:gd name="T6" fmla="*/ 154 w 201"/>
                <a:gd name="T7" fmla="*/ 0 h 140"/>
                <a:gd name="T8" fmla="*/ 201 w 201"/>
                <a:gd name="T9" fmla="*/ 0 h 140"/>
                <a:gd name="T10" fmla="*/ 120 w 201"/>
                <a:gd name="T11" fmla="*/ 79 h 140"/>
                <a:gd name="T12" fmla="*/ 120 w 201"/>
                <a:gd name="T13" fmla="*/ 140 h 140"/>
                <a:gd name="T14" fmla="*/ 80 w 201"/>
                <a:gd name="T15" fmla="*/ 140 h 140"/>
                <a:gd name="T16" fmla="*/ 80 w 201"/>
                <a:gd name="T17" fmla="*/ 79 h 140"/>
                <a:gd name="T18" fmla="*/ 0 w 201"/>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140">
                  <a:moveTo>
                    <a:pt x="0" y="0"/>
                  </a:moveTo>
                  <a:lnTo>
                    <a:pt x="48" y="0"/>
                  </a:lnTo>
                  <a:lnTo>
                    <a:pt x="101" y="54"/>
                  </a:lnTo>
                  <a:lnTo>
                    <a:pt x="154" y="0"/>
                  </a:lnTo>
                  <a:lnTo>
                    <a:pt x="201" y="0"/>
                  </a:lnTo>
                  <a:lnTo>
                    <a:pt x="120" y="79"/>
                  </a:lnTo>
                  <a:lnTo>
                    <a:pt x="120" y="140"/>
                  </a:lnTo>
                  <a:lnTo>
                    <a:pt x="80" y="140"/>
                  </a:lnTo>
                  <a:lnTo>
                    <a:pt x="80" y="7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0"/>
            <p:cNvSpPr>
              <a:spLocks noEditPoints="1"/>
            </p:cNvSpPr>
            <p:nvPr userDrawn="1"/>
          </p:nvSpPr>
          <p:spPr bwMode="auto">
            <a:xfrm>
              <a:off x="4645767" y="2567583"/>
              <a:ext cx="536237" cy="320945"/>
            </a:xfrm>
            <a:custGeom>
              <a:avLst/>
              <a:gdLst>
                <a:gd name="T0" fmla="*/ 118 w 269"/>
                <a:gd name="T1" fmla="*/ 45 h 161"/>
                <a:gd name="T2" fmla="*/ 85 w 269"/>
                <a:gd name="T3" fmla="*/ 105 h 161"/>
                <a:gd name="T4" fmla="*/ 148 w 269"/>
                <a:gd name="T5" fmla="*/ 105 h 161"/>
                <a:gd name="T6" fmla="*/ 118 w 269"/>
                <a:gd name="T7" fmla="*/ 45 h 161"/>
                <a:gd name="T8" fmla="*/ 97 w 269"/>
                <a:gd name="T9" fmla="*/ 0 h 161"/>
                <a:gd name="T10" fmla="*/ 182 w 269"/>
                <a:gd name="T11" fmla="*/ 0 h 161"/>
                <a:gd name="T12" fmla="*/ 269 w 269"/>
                <a:gd name="T13" fmla="*/ 158 h 161"/>
                <a:gd name="T14" fmla="*/ 269 w 269"/>
                <a:gd name="T15" fmla="*/ 161 h 161"/>
                <a:gd name="T16" fmla="*/ 179 w 269"/>
                <a:gd name="T17" fmla="*/ 161 h 161"/>
                <a:gd name="T18" fmla="*/ 162 w 269"/>
                <a:gd name="T19" fmla="*/ 131 h 161"/>
                <a:gd name="T20" fmla="*/ 73 w 269"/>
                <a:gd name="T21" fmla="*/ 131 h 161"/>
                <a:gd name="T22" fmla="*/ 58 w 269"/>
                <a:gd name="T23" fmla="*/ 161 h 161"/>
                <a:gd name="T24" fmla="*/ 0 w 269"/>
                <a:gd name="T25" fmla="*/ 161 h 161"/>
                <a:gd name="T26" fmla="*/ 0 w 269"/>
                <a:gd name="T27" fmla="*/ 158 h 161"/>
                <a:gd name="T28" fmla="*/ 97 w 269"/>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9" h="161">
                  <a:moveTo>
                    <a:pt x="118" y="45"/>
                  </a:moveTo>
                  <a:lnTo>
                    <a:pt x="85" y="105"/>
                  </a:lnTo>
                  <a:lnTo>
                    <a:pt x="148" y="105"/>
                  </a:lnTo>
                  <a:lnTo>
                    <a:pt x="118" y="45"/>
                  </a:lnTo>
                  <a:close/>
                  <a:moveTo>
                    <a:pt x="97" y="0"/>
                  </a:moveTo>
                  <a:lnTo>
                    <a:pt x="182" y="0"/>
                  </a:lnTo>
                  <a:lnTo>
                    <a:pt x="269" y="158"/>
                  </a:lnTo>
                  <a:lnTo>
                    <a:pt x="269" y="161"/>
                  </a:lnTo>
                  <a:lnTo>
                    <a:pt x="179" y="161"/>
                  </a:lnTo>
                  <a:lnTo>
                    <a:pt x="162" y="131"/>
                  </a:lnTo>
                  <a:lnTo>
                    <a:pt x="73" y="131"/>
                  </a:lnTo>
                  <a:lnTo>
                    <a:pt x="58" y="161"/>
                  </a:lnTo>
                  <a:lnTo>
                    <a:pt x="0" y="161"/>
                  </a:lnTo>
                  <a:lnTo>
                    <a:pt x="0" y="158"/>
                  </a:lnTo>
                  <a:lnTo>
                    <a:pt x="97"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1"/>
            <p:cNvSpPr>
              <a:spLocks/>
            </p:cNvSpPr>
            <p:nvPr userDrawn="1"/>
          </p:nvSpPr>
          <p:spPr bwMode="auto">
            <a:xfrm>
              <a:off x="5223866" y="2567583"/>
              <a:ext cx="486401" cy="332906"/>
            </a:xfrm>
            <a:custGeom>
              <a:avLst/>
              <a:gdLst>
                <a:gd name="T0" fmla="*/ 0 w 244"/>
                <a:gd name="T1" fmla="*/ 0 h 167"/>
                <a:gd name="T2" fmla="*/ 83 w 244"/>
                <a:gd name="T3" fmla="*/ 0 h 167"/>
                <a:gd name="T4" fmla="*/ 83 w 244"/>
                <a:gd name="T5" fmla="*/ 6 h 167"/>
                <a:gd name="T6" fmla="*/ 83 w 244"/>
                <a:gd name="T7" fmla="*/ 18 h 167"/>
                <a:gd name="T8" fmla="*/ 83 w 244"/>
                <a:gd name="T9" fmla="*/ 80 h 167"/>
                <a:gd name="T10" fmla="*/ 83 w 244"/>
                <a:gd name="T11" fmla="*/ 96 h 167"/>
                <a:gd name="T12" fmla="*/ 83 w 244"/>
                <a:gd name="T13" fmla="*/ 108 h 167"/>
                <a:gd name="T14" fmla="*/ 85 w 244"/>
                <a:gd name="T15" fmla="*/ 119 h 167"/>
                <a:gd name="T16" fmla="*/ 90 w 244"/>
                <a:gd name="T17" fmla="*/ 128 h 167"/>
                <a:gd name="T18" fmla="*/ 96 w 244"/>
                <a:gd name="T19" fmla="*/ 134 h 167"/>
                <a:gd name="T20" fmla="*/ 106 w 244"/>
                <a:gd name="T21" fmla="*/ 139 h 167"/>
                <a:gd name="T22" fmla="*/ 121 w 244"/>
                <a:gd name="T23" fmla="*/ 140 h 167"/>
                <a:gd name="T24" fmla="*/ 136 w 244"/>
                <a:gd name="T25" fmla="*/ 139 h 167"/>
                <a:gd name="T26" fmla="*/ 148 w 244"/>
                <a:gd name="T27" fmla="*/ 134 h 167"/>
                <a:gd name="T28" fmla="*/ 154 w 244"/>
                <a:gd name="T29" fmla="*/ 128 h 167"/>
                <a:gd name="T30" fmla="*/ 159 w 244"/>
                <a:gd name="T31" fmla="*/ 119 h 167"/>
                <a:gd name="T32" fmla="*/ 161 w 244"/>
                <a:gd name="T33" fmla="*/ 108 h 167"/>
                <a:gd name="T34" fmla="*/ 161 w 244"/>
                <a:gd name="T35" fmla="*/ 96 h 167"/>
                <a:gd name="T36" fmla="*/ 161 w 244"/>
                <a:gd name="T37" fmla="*/ 80 h 167"/>
                <a:gd name="T38" fmla="*/ 161 w 244"/>
                <a:gd name="T39" fmla="*/ 59 h 167"/>
                <a:gd name="T40" fmla="*/ 161 w 244"/>
                <a:gd name="T41" fmla="*/ 0 h 167"/>
                <a:gd name="T42" fmla="*/ 244 w 244"/>
                <a:gd name="T43" fmla="*/ 0 h 167"/>
                <a:gd name="T44" fmla="*/ 244 w 244"/>
                <a:gd name="T45" fmla="*/ 6 h 167"/>
                <a:gd name="T46" fmla="*/ 244 w 244"/>
                <a:gd name="T47" fmla="*/ 20 h 167"/>
                <a:gd name="T48" fmla="*/ 244 w 244"/>
                <a:gd name="T49" fmla="*/ 38 h 167"/>
                <a:gd name="T50" fmla="*/ 244 w 244"/>
                <a:gd name="T51" fmla="*/ 59 h 167"/>
                <a:gd name="T52" fmla="*/ 244 w 244"/>
                <a:gd name="T53" fmla="*/ 78 h 167"/>
                <a:gd name="T54" fmla="*/ 244 w 244"/>
                <a:gd name="T55" fmla="*/ 93 h 167"/>
                <a:gd name="T56" fmla="*/ 241 w 244"/>
                <a:gd name="T57" fmla="*/ 113 h 167"/>
                <a:gd name="T58" fmla="*/ 232 w 244"/>
                <a:gd name="T59" fmla="*/ 129 h 167"/>
                <a:gd name="T60" fmla="*/ 218 w 244"/>
                <a:gd name="T61" fmla="*/ 143 h 167"/>
                <a:gd name="T62" fmla="*/ 198 w 244"/>
                <a:gd name="T63" fmla="*/ 154 h 167"/>
                <a:gd name="T64" fmla="*/ 176 w 244"/>
                <a:gd name="T65" fmla="*/ 161 h 167"/>
                <a:gd name="T66" fmla="*/ 150 w 244"/>
                <a:gd name="T67" fmla="*/ 166 h 167"/>
                <a:gd name="T68" fmla="*/ 121 w 244"/>
                <a:gd name="T69" fmla="*/ 167 h 167"/>
                <a:gd name="T70" fmla="*/ 93 w 244"/>
                <a:gd name="T71" fmla="*/ 166 h 167"/>
                <a:gd name="T72" fmla="*/ 67 w 244"/>
                <a:gd name="T73" fmla="*/ 161 h 167"/>
                <a:gd name="T74" fmla="*/ 44 w 244"/>
                <a:gd name="T75" fmla="*/ 154 h 167"/>
                <a:gd name="T76" fmla="*/ 26 w 244"/>
                <a:gd name="T77" fmla="*/ 143 h 167"/>
                <a:gd name="T78" fmla="*/ 13 w 244"/>
                <a:gd name="T79" fmla="*/ 129 h 167"/>
                <a:gd name="T80" fmla="*/ 3 w 244"/>
                <a:gd name="T81" fmla="*/ 113 h 167"/>
                <a:gd name="T82" fmla="*/ 0 w 244"/>
                <a:gd name="T83" fmla="*/ 93 h 167"/>
                <a:gd name="T84" fmla="*/ 0 w 244"/>
                <a:gd name="T8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167">
                  <a:moveTo>
                    <a:pt x="0" y="0"/>
                  </a:moveTo>
                  <a:lnTo>
                    <a:pt x="83" y="0"/>
                  </a:lnTo>
                  <a:lnTo>
                    <a:pt x="83" y="6"/>
                  </a:lnTo>
                  <a:lnTo>
                    <a:pt x="83" y="18"/>
                  </a:lnTo>
                  <a:lnTo>
                    <a:pt x="83" y="80"/>
                  </a:lnTo>
                  <a:lnTo>
                    <a:pt x="83" y="96"/>
                  </a:lnTo>
                  <a:lnTo>
                    <a:pt x="83" y="108"/>
                  </a:lnTo>
                  <a:lnTo>
                    <a:pt x="85" y="119"/>
                  </a:lnTo>
                  <a:lnTo>
                    <a:pt x="90" y="128"/>
                  </a:lnTo>
                  <a:lnTo>
                    <a:pt x="96" y="134"/>
                  </a:lnTo>
                  <a:lnTo>
                    <a:pt x="106" y="139"/>
                  </a:lnTo>
                  <a:lnTo>
                    <a:pt x="121" y="140"/>
                  </a:lnTo>
                  <a:lnTo>
                    <a:pt x="136" y="139"/>
                  </a:lnTo>
                  <a:lnTo>
                    <a:pt x="148" y="134"/>
                  </a:lnTo>
                  <a:lnTo>
                    <a:pt x="154" y="128"/>
                  </a:lnTo>
                  <a:lnTo>
                    <a:pt x="159" y="119"/>
                  </a:lnTo>
                  <a:lnTo>
                    <a:pt x="161" y="108"/>
                  </a:lnTo>
                  <a:lnTo>
                    <a:pt x="161" y="96"/>
                  </a:lnTo>
                  <a:lnTo>
                    <a:pt x="161" y="80"/>
                  </a:lnTo>
                  <a:lnTo>
                    <a:pt x="161" y="59"/>
                  </a:lnTo>
                  <a:lnTo>
                    <a:pt x="161" y="0"/>
                  </a:lnTo>
                  <a:lnTo>
                    <a:pt x="244" y="0"/>
                  </a:lnTo>
                  <a:lnTo>
                    <a:pt x="244" y="6"/>
                  </a:lnTo>
                  <a:lnTo>
                    <a:pt x="244" y="20"/>
                  </a:lnTo>
                  <a:lnTo>
                    <a:pt x="244" y="38"/>
                  </a:lnTo>
                  <a:lnTo>
                    <a:pt x="244" y="59"/>
                  </a:lnTo>
                  <a:lnTo>
                    <a:pt x="244" y="78"/>
                  </a:lnTo>
                  <a:lnTo>
                    <a:pt x="244" y="93"/>
                  </a:lnTo>
                  <a:lnTo>
                    <a:pt x="241" y="113"/>
                  </a:lnTo>
                  <a:lnTo>
                    <a:pt x="232" y="129"/>
                  </a:lnTo>
                  <a:lnTo>
                    <a:pt x="218" y="143"/>
                  </a:lnTo>
                  <a:lnTo>
                    <a:pt x="198" y="154"/>
                  </a:lnTo>
                  <a:lnTo>
                    <a:pt x="176" y="161"/>
                  </a:lnTo>
                  <a:lnTo>
                    <a:pt x="150" y="166"/>
                  </a:lnTo>
                  <a:lnTo>
                    <a:pt x="121" y="167"/>
                  </a:lnTo>
                  <a:lnTo>
                    <a:pt x="93" y="166"/>
                  </a:lnTo>
                  <a:lnTo>
                    <a:pt x="67" y="161"/>
                  </a:lnTo>
                  <a:lnTo>
                    <a:pt x="44" y="154"/>
                  </a:lnTo>
                  <a:lnTo>
                    <a:pt x="26" y="143"/>
                  </a:lnTo>
                  <a:lnTo>
                    <a:pt x="13" y="129"/>
                  </a:lnTo>
                  <a:lnTo>
                    <a:pt x="3" y="113"/>
                  </a:lnTo>
                  <a:lnTo>
                    <a:pt x="0" y="93"/>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2"/>
            <p:cNvSpPr>
              <a:spLocks/>
            </p:cNvSpPr>
            <p:nvPr userDrawn="1"/>
          </p:nvSpPr>
          <p:spPr bwMode="auto">
            <a:xfrm>
              <a:off x="5795986" y="2557616"/>
              <a:ext cx="466466" cy="340880"/>
            </a:xfrm>
            <a:custGeom>
              <a:avLst/>
              <a:gdLst>
                <a:gd name="T0" fmla="*/ 151 w 234"/>
                <a:gd name="T1" fmla="*/ 2 h 171"/>
                <a:gd name="T2" fmla="*/ 201 w 234"/>
                <a:gd name="T3" fmla="*/ 14 h 171"/>
                <a:gd name="T4" fmla="*/ 191 w 234"/>
                <a:gd name="T5" fmla="*/ 44 h 171"/>
                <a:gd name="T6" fmla="*/ 154 w 234"/>
                <a:gd name="T7" fmla="*/ 31 h 171"/>
                <a:gd name="T8" fmla="*/ 120 w 234"/>
                <a:gd name="T9" fmla="*/ 26 h 171"/>
                <a:gd name="T10" fmla="*/ 93 w 234"/>
                <a:gd name="T11" fmla="*/ 28 h 171"/>
                <a:gd name="T12" fmla="*/ 80 w 234"/>
                <a:gd name="T13" fmla="*/ 38 h 171"/>
                <a:gd name="T14" fmla="*/ 91 w 234"/>
                <a:gd name="T15" fmla="*/ 49 h 171"/>
                <a:gd name="T16" fmla="*/ 124 w 234"/>
                <a:gd name="T17" fmla="*/ 56 h 171"/>
                <a:gd name="T18" fmla="*/ 162 w 234"/>
                <a:gd name="T19" fmla="*/ 64 h 171"/>
                <a:gd name="T20" fmla="*/ 197 w 234"/>
                <a:gd name="T21" fmla="*/ 73 h 171"/>
                <a:gd name="T22" fmla="*/ 224 w 234"/>
                <a:gd name="T23" fmla="*/ 89 h 171"/>
                <a:gd name="T24" fmla="*/ 234 w 234"/>
                <a:gd name="T25" fmla="*/ 115 h 171"/>
                <a:gd name="T26" fmla="*/ 222 w 234"/>
                <a:gd name="T27" fmla="*/ 144 h 171"/>
                <a:gd name="T28" fmla="*/ 188 w 234"/>
                <a:gd name="T29" fmla="*/ 162 h 171"/>
                <a:gd name="T30" fmla="*/ 142 w 234"/>
                <a:gd name="T31" fmla="*/ 169 h 171"/>
                <a:gd name="T32" fmla="*/ 82 w 234"/>
                <a:gd name="T33" fmla="*/ 169 h 171"/>
                <a:gd name="T34" fmla="*/ 31 w 234"/>
                <a:gd name="T35" fmla="*/ 156 h 171"/>
                <a:gd name="T36" fmla="*/ 0 w 234"/>
                <a:gd name="T37" fmla="*/ 139 h 171"/>
                <a:gd name="T38" fmla="*/ 49 w 234"/>
                <a:gd name="T39" fmla="*/ 128 h 171"/>
                <a:gd name="T40" fmla="*/ 93 w 234"/>
                <a:gd name="T41" fmla="*/ 144 h 171"/>
                <a:gd name="T42" fmla="*/ 124 w 234"/>
                <a:gd name="T43" fmla="*/ 145 h 171"/>
                <a:gd name="T44" fmla="*/ 145 w 234"/>
                <a:gd name="T45" fmla="*/ 142 h 171"/>
                <a:gd name="T46" fmla="*/ 157 w 234"/>
                <a:gd name="T47" fmla="*/ 133 h 171"/>
                <a:gd name="T48" fmla="*/ 144 w 234"/>
                <a:gd name="T49" fmla="*/ 121 h 171"/>
                <a:gd name="T50" fmla="*/ 111 w 234"/>
                <a:gd name="T51" fmla="*/ 112 h 171"/>
                <a:gd name="T52" fmla="*/ 76 w 234"/>
                <a:gd name="T53" fmla="*/ 106 h 171"/>
                <a:gd name="T54" fmla="*/ 44 w 234"/>
                <a:gd name="T55" fmla="*/ 97 h 171"/>
                <a:gd name="T56" fmla="*/ 17 w 234"/>
                <a:gd name="T57" fmla="*/ 82 h 171"/>
                <a:gd name="T58" fmla="*/ 6 w 234"/>
                <a:gd name="T59" fmla="*/ 56 h 171"/>
                <a:gd name="T60" fmla="*/ 17 w 234"/>
                <a:gd name="T61" fmla="*/ 29 h 171"/>
                <a:gd name="T62" fmla="*/ 46 w 234"/>
                <a:gd name="T63" fmla="*/ 13 h 171"/>
                <a:gd name="T64" fmla="*/ 82 w 234"/>
                <a:gd name="T65" fmla="*/ 3 h 171"/>
                <a:gd name="T66" fmla="*/ 120 w 234"/>
                <a:gd name="T67"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1">
                  <a:moveTo>
                    <a:pt x="120" y="0"/>
                  </a:moveTo>
                  <a:lnTo>
                    <a:pt x="151" y="2"/>
                  </a:lnTo>
                  <a:lnTo>
                    <a:pt x="179" y="6"/>
                  </a:lnTo>
                  <a:lnTo>
                    <a:pt x="201" y="14"/>
                  </a:lnTo>
                  <a:lnTo>
                    <a:pt x="222" y="26"/>
                  </a:lnTo>
                  <a:lnTo>
                    <a:pt x="191" y="44"/>
                  </a:lnTo>
                  <a:lnTo>
                    <a:pt x="174" y="37"/>
                  </a:lnTo>
                  <a:lnTo>
                    <a:pt x="154" y="31"/>
                  </a:lnTo>
                  <a:lnTo>
                    <a:pt x="136" y="26"/>
                  </a:lnTo>
                  <a:lnTo>
                    <a:pt x="120" y="26"/>
                  </a:lnTo>
                  <a:lnTo>
                    <a:pt x="106" y="26"/>
                  </a:lnTo>
                  <a:lnTo>
                    <a:pt x="93" y="28"/>
                  </a:lnTo>
                  <a:lnTo>
                    <a:pt x="83" y="32"/>
                  </a:lnTo>
                  <a:lnTo>
                    <a:pt x="80" y="38"/>
                  </a:lnTo>
                  <a:lnTo>
                    <a:pt x="82" y="44"/>
                  </a:lnTo>
                  <a:lnTo>
                    <a:pt x="91" y="49"/>
                  </a:lnTo>
                  <a:lnTo>
                    <a:pt x="105" y="52"/>
                  </a:lnTo>
                  <a:lnTo>
                    <a:pt x="124" y="56"/>
                  </a:lnTo>
                  <a:lnTo>
                    <a:pt x="145" y="59"/>
                  </a:lnTo>
                  <a:lnTo>
                    <a:pt x="162" y="64"/>
                  </a:lnTo>
                  <a:lnTo>
                    <a:pt x="180" y="68"/>
                  </a:lnTo>
                  <a:lnTo>
                    <a:pt x="197" y="73"/>
                  </a:lnTo>
                  <a:lnTo>
                    <a:pt x="212" y="80"/>
                  </a:lnTo>
                  <a:lnTo>
                    <a:pt x="224" y="89"/>
                  </a:lnTo>
                  <a:lnTo>
                    <a:pt x="231" y="101"/>
                  </a:lnTo>
                  <a:lnTo>
                    <a:pt x="234" y="115"/>
                  </a:lnTo>
                  <a:lnTo>
                    <a:pt x="231" y="131"/>
                  </a:lnTo>
                  <a:lnTo>
                    <a:pt x="222" y="144"/>
                  </a:lnTo>
                  <a:lnTo>
                    <a:pt x="207" y="154"/>
                  </a:lnTo>
                  <a:lnTo>
                    <a:pt x="188" y="162"/>
                  </a:lnTo>
                  <a:lnTo>
                    <a:pt x="167" y="166"/>
                  </a:lnTo>
                  <a:lnTo>
                    <a:pt x="142" y="169"/>
                  </a:lnTo>
                  <a:lnTo>
                    <a:pt x="117" y="171"/>
                  </a:lnTo>
                  <a:lnTo>
                    <a:pt x="82" y="169"/>
                  </a:lnTo>
                  <a:lnTo>
                    <a:pt x="53" y="163"/>
                  </a:lnTo>
                  <a:lnTo>
                    <a:pt x="31" y="156"/>
                  </a:lnTo>
                  <a:lnTo>
                    <a:pt x="12" y="147"/>
                  </a:lnTo>
                  <a:lnTo>
                    <a:pt x="0" y="139"/>
                  </a:lnTo>
                  <a:lnTo>
                    <a:pt x="34" y="119"/>
                  </a:lnTo>
                  <a:lnTo>
                    <a:pt x="49" y="128"/>
                  </a:lnTo>
                  <a:lnTo>
                    <a:pt x="70" y="138"/>
                  </a:lnTo>
                  <a:lnTo>
                    <a:pt x="93" y="144"/>
                  </a:lnTo>
                  <a:lnTo>
                    <a:pt x="117" y="145"/>
                  </a:lnTo>
                  <a:lnTo>
                    <a:pt x="124" y="145"/>
                  </a:lnTo>
                  <a:lnTo>
                    <a:pt x="136" y="144"/>
                  </a:lnTo>
                  <a:lnTo>
                    <a:pt x="145" y="142"/>
                  </a:lnTo>
                  <a:lnTo>
                    <a:pt x="154" y="139"/>
                  </a:lnTo>
                  <a:lnTo>
                    <a:pt x="157" y="133"/>
                  </a:lnTo>
                  <a:lnTo>
                    <a:pt x="153" y="125"/>
                  </a:lnTo>
                  <a:lnTo>
                    <a:pt x="144" y="121"/>
                  </a:lnTo>
                  <a:lnTo>
                    <a:pt x="129" y="116"/>
                  </a:lnTo>
                  <a:lnTo>
                    <a:pt x="111" y="112"/>
                  </a:lnTo>
                  <a:lnTo>
                    <a:pt x="91" y="109"/>
                  </a:lnTo>
                  <a:lnTo>
                    <a:pt x="76" y="106"/>
                  </a:lnTo>
                  <a:lnTo>
                    <a:pt x="61" y="101"/>
                  </a:lnTo>
                  <a:lnTo>
                    <a:pt x="44" y="97"/>
                  </a:lnTo>
                  <a:lnTo>
                    <a:pt x="29" y="91"/>
                  </a:lnTo>
                  <a:lnTo>
                    <a:pt x="17" y="82"/>
                  </a:lnTo>
                  <a:lnTo>
                    <a:pt x="9" y="71"/>
                  </a:lnTo>
                  <a:lnTo>
                    <a:pt x="6" y="56"/>
                  </a:lnTo>
                  <a:lnTo>
                    <a:pt x="9" y="41"/>
                  </a:lnTo>
                  <a:lnTo>
                    <a:pt x="17" y="29"/>
                  </a:lnTo>
                  <a:lnTo>
                    <a:pt x="29" y="19"/>
                  </a:lnTo>
                  <a:lnTo>
                    <a:pt x="46" y="13"/>
                  </a:lnTo>
                  <a:lnTo>
                    <a:pt x="64" y="6"/>
                  </a:lnTo>
                  <a:lnTo>
                    <a:pt x="82" y="3"/>
                  </a:lnTo>
                  <a:lnTo>
                    <a:pt x="102" y="0"/>
                  </a:lnTo>
                  <a:lnTo>
                    <a:pt x="12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
            <p:cNvSpPr>
              <a:spLocks/>
            </p:cNvSpPr>
            <p:nvPr userDrawn="1"/>
          </p:nvSpPr>
          <p:spPr bwMode="auto">
            <a:xfrm>
              <a:off x="6302321" y="2567583"/>
              <a:ext cx="442545" cy="320945"/>
            </a:xfrm>
            <a:custGeom>
              <a:avLst/>
              <a:gdLst>
                <a:gd name="T0" fmla="*/ 15 w 222"/>
                <a:gd name="T1" fmla="*/ 0 h 161"/>
                <a:gd name="T2" fmla="*/ 207 w 222"/>
                <a:gd name="T3" fmla="*/ 0 h 161"/>
                <a:gd name="T4" fmla="*/ 222 w 222"/>
                <a:gd name="T5" fmla="*/ 24 h 161"/>
                <a:gd name="T6" fmla="*/ 222 w 222"/>
                <a:gd name="T7" fmla="*/ 27 h 161"/>
                <a:gd name="T8" fmla="*/ 153 w 222"/>
                <a:gd name="T9" fmla="*/ 27 h 161"/>
                <a:gd name="T10" fmla="*/ 153 w 222"/>
                <a:gd name="T11" fmla="*/ 161 h 161"/>
                <a:gd name="T12" fmla="*/ 68 w 222"/>
                <a:gd name="T13" fmla="*/ 161 h 161"/>
                <a:gd name="T14" fmla="*/ 68 w 222"/>
                <a:gd name="T15" fmla="*/ 27 h 161"/>
                <a:gd name="T16" fmla="*/ 0 w 222"/>
                <a:gd name="T17" fmla="*/ 27 h 161"/>
                <a:gd name="T18" fmla="*/ 0 w 222"/>
                <a:gd name="T19" fmla="*/ 24 h 161"/>
                <a:gd name="T20" fmla="*/ 15 w 222"/>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161">
                  <a:moveTo>
                    <a:pt x="15" y="0"/>
                  </a:moveTo>
                  <a:lnTo>
                    <a:pt x="207" y="0"/>
                  </a:lnTo>
                  <a:lnTo>
                    <a:pt x="222" y="24"/>
                  </a:lnTo>
                  <a:lnTo>
                    <a:pt x="222" y="27"/>
                  </a:lnTo>
                  <a:lnTo>
                    <a:pt x="153" y="27"/>
                  </a:lnTo>
                  <a:lnTo>
                    <a:pt x="153" y="161"/>
                  </a:lnTo>
                  <a:lnTo>
                    <a:pt x="68" y="161"/>
                  </a:lnTo>
                  <a:lnTo>
                    <a:pt x="68" y="27"/>
                  </a:lnTo>
                  <a:lnTo>
                    <a:pt x="0" y="27"/>
                  </a:lnTo>
                  <a:lnTo>
                    <a:pt x="0" y="24"/>
                  </a:lnTo>
                  <a:lnTo>
                    <a:pt x="15"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24"/>
            <p:cNvSpPr>
              <a:spLocks noChangeArrowheads="1"/>
            </p:cNvSpPr>
            <p:nvPr userDrawn="1"/>
          </p:nvSpPr>
          <p:spPr bwMode="auto">
            <a:xfrm>
              <a:off x="6828590" y="2567583"/>
              <a:ext cx="165457" cy="320945"/>
            </a:xfrm>
            <a:prstGeom prst="rect">
              <a:avLst/>
            </a:prstGeom>
            <a:solidFill>
              <a:srgbClr val="231F2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5"/>
            <p:cNvSpPr>
              <a:spLocks/>
            </p:cNvSpPr>
            <p:nvPr userDrawn="1"/>
          </p:nvSpPr>
          <p:spPr bwMode="auto">
            <a:xfrm>
              <a:off x="7111659" y="2567583"/>
              <a:ext cx="500355" cy="320945"/>
            </a:xfrm>
            <a:custGeom>
              <a:avLst/>
              <a:gdLst>
                <a:gd name="T0" fmla="*/ 0 w 251"/>
                <a:gd name="T1" fmla="*/ 0 h 161"/>
                <a:gd name="T2" fmla="*/ 47 w 251"/>
                <a:gd name="T3" fmla="*/ 0 h 161"/>
                <a:gd name="T4" fmla="*/ 198 w 251"/>
                <a:gd name="T5" fmla="*/ 86 h 161"/>
                <a:gd name="T6" fmla="*/ 198 w 251"/>
                <a:gd name="T7" fmla="*/ 0 h 161"/>
                <a:gd name="T8" fmla="*/ 251 w 251"/>
                <a:gd name="T9" fmla="*/ 0 h 161"/>
                <a:gd name="T10" fmla="*/ 251 w 251"/>
                <a:gd name="T11" fmla="*/ 161 h 161"/>
                <a:gd name="T12" fmla="*/ 200 w 251"/>
                <a:gd name="T13" fmla="*/ 161 h 161"/>
                <a:gd name="T14" fmla="*/ 53 w 251"/>
                <a:gd name="T15" fmla="*/ 78 h 161"/>
                <a:gd name="T16" fmla="*/ 53 w 251"/>
                <a:gd name="T17" fmla="*/ 161 h 161"/>
                <a:gd name="T18" fmla="*/ 0 w 251"/>
                <a:gd name="T19" fmla="*/ 161 h 161"/>
                <a:gd name="T20" fmla="*/ 0 w 251"/>
                <a:gd name="T2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1">
                  <a:moveTo>
                    <a:pt x="0" y="0"/>
                  </a:moveTo>
                  <a:lnTo>
                    <a:pt x="47" y="0"/>
                  </a:lnTo>
                  <a:lnTo>
                    <a:pt x="198" y="86"/>
                  </a:lnTo>
                  <a:lnTo>
                    <a:pt x="198" y="0"/>
                  </a:lnTo>
                  <a:lnTo>
                    <a:pt x="251" y="0"/>
                  </a:lnTo>
                  <a:lnTo>
                    <a:pt x="251" y="161"/>
                  </a:lnTo>
                  <a:lnTo>
                    <a:pt x="200" y="161"/>
                  </a:lnTo>
                  <a:lnTo>
                    <a:pt x="53" y="78"/>
                  </a:lnTo>
                  <a:lnTo>
                    <a:pt x="53" y="161"/>
                  </a:lnTo>
                  <a:lnTo>
                    <a:pt x="0" y="161"/>
                  </a:lnTo>
                  <a:lnTo>
                    <a:pt x="0" y="0"/>
                  </a:lnTo>
                  <a:close/>
                </a:path>
              </a:pathLst>
            </a:custGeom>
            <a:solidFill>
              <a:srgbClr val="231F2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6"/>
            <p:cNvSpPr>
              <a:spLocks noEditPoints="1"/>
            </p:cNvSpPr>
            <p:nvPr userDrawn="1"/>
          </p:nvSpPr>
          <p:spPr bwMode="auto">
            <a:xfrm>
              <a:off x="4619853" y="2539675"/>
              <a:ext cx="532250" cy="318951"/>
            </a:xfrm>
            <a:custGeom>
              <a:avLst/>
              <a:gdLst>
                <a:gd name="T0" fmla="*/ 118 w 267"/>
                <a:gd name="T1" fmla="*/ 46 h 160"/>
                <a:gd name="T2" fmla="*/ 84 w 267"/>
                <a:gd name="T3" fmla="*/ 106 h 160"/>
                <a:gd name="T4" fmla="*/ 148 w 267"/>
                <a:gd name="T5" fmla="*/ 106 h 160"/>
                <a:gd name="T6" fmla="*/ 118 w 267"/>
                <a:gd name="T7" fmla="*/ 46 h 160"/>
                <a:gd name="T8" fmla="*/ 95 w 267"/>
                <a:gd name="T9" fmla="*/ 0 h 160"/>
                <a:gd name="T10" fmla="*/ 180 w 267"/>
                <a:gd name="T11" fmla="*/ 0 h 160"/>
                <a:gd name="T12" fmla="*/ 267 w 267"/>
                <a:gd name="T13" fmla="*/ 159 h 160"/>
                <a:gd name="T14" fmla="*/ 267 w 267"/>
                <a:gd name="T15" fmla="*/ 160 h 160"/>
                <a:gd name="T16" fmla="*/ 177 w 267"/>
                <a:gd name="T17" fmla="*/ 160 h 160"/>
                <a:gd name="T18" fmla="*/ 161 w 267"/>
                <a:gd name="T19" fmla="*/ 131 h 160"/>
                <a:gd name="T20" fmla="*/ 72 w 267"/>
                <a:gd name="T21" fmla="*/ 131 h 160"/>
                <a:gd name="T22" fmla="*/ 57 w 267"/>
                <a:gd name="T23" fmla="*/ 160 h 160"/>
                <a:gd name="T24" fmla="*/ 0 w 267"/>
                <a:gd name="T25" fmla="*/ 160 h 160"/>
                <a:gd name="T26" fmla="*/ 0 w 267"/>
                <a:gd name="T27" fmla="*/ 159 h 160"/>
                <a:gd name="T28" fmla="*/ 95 w 267"/>
                <a:gd name="T2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7" h="160">
                  <a:moveTo>
                    <a:pt x="118" y="46"/>
                  </a:moveTo>
                  <a:lnTo>
                    <a:pt x="84" y="106"/>
                  </a:lnTo>
                  <a:lnTo>
                    <a:pt x="148" y="106"/>
                  </a:lnTo>
                  <a:lnTo>
                    <a:pt x="118" y="46"/>
                  </a:lnTo>
                  <a:close/>
                  <a:moveTo>
                    <a:pt x="95" y="0"/>
                  </a:moveTo>
                  <a:lnTo>
                    <a:pt x="180" y="0"/>
                  </a:lnTo>
                  <a:lnTo>
                    <a:pt x="267" y="159"/>
                  </a:lnTo>
                  <a:lnTo>
                    <a:pt x="267" y="160"/>
                  </a:lnTo>
                  <a:lnTo>
                    <a:pt x="177" y="160"/>
                  </a:lnTo>
                  <a:lnTo>
                    <a:pt x="161" y="131"/>
                  </a:lnTo>
                  <a:lnTo>
                    <a:pt x="72" y="131"/>
                  </a:lnTo>
                  <a:lnTo>
                    <a:pt x="57" y="160"/>
                  </a:lnTo>
                  <a:lnTo>
                    <a:pt x="0" y="160"/>
                  </a:lnTo>
                  <a:lnTo>
                    <a:pt x="0" y="159"/>
                  </a:lnTo>
                  <a:lnTo>
                    <a:pt x="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7"/>
            <p:cNvSpPr>
              <a:spLocks/>
            </p:cNvSpPr>
            <p:nvPr userDrawn="1"/>
          </p:nvSpPr>
          <p:spPr bwMode="auto">
            <a:xfrm>
              <a:off x="5197952" y="2539675"/>
              <a:ext cx="484408" cy="334899"/>
            </a:xfrm>
            <a:custGeom>
              <a:avLst/>
              <a:gdLst>
                <a:gd name="T0" fmla="*/ 0 w 243"/>
                <a:gd name="T1" fmla="*/ 0 h 168"/>
                <a:gd name="T2" fmla="*/ 83 w 243"/>
                <a:gd name="T3" fmla="*/ 0 h 168"/>
                <a:gd name="T4" fmla="*/ 83 w 243"/>
                <a:gd name="T5" fmla="*/ 6 h 168"/>
                <a:gd name="T6" fmla="*/ 83 w 243"/>
                <a:gd name="T7" fmla="*/ 19 h 168"/>
                <a:gd name="T8" fmla="*/ 83 w 243"/>
                <a:gd name="T9" fmla="*/ 59 h 168"/>
                <a:gd name="T10" fmla="*/ 83 w 243"/>
                <a:gd name="T11" fmla="*/ 80 h 168"/>
                <a:gd name="T12" fmla="*/ 83 w 243"/>
                <a:gd name="T13" fmla="*/ 109 h 168"/>
                <a:gd name="T14" fmla="*/ 84 w 243"/>
                <a:gd name="T15" fmla="*/ 119 h 168"/>
                <a:gd name="T16" fmla="*/ 87 w 243"/>
                <a:gd name="T17" fmla="*/ 127 h 168"/>
                <a:gd name="T18" fmla="*/ 95 w 243"/>
                <a:gd name="T19" fmla="*/ 134 h 168"/>
                <a:gd name="T20" fmla="*/ 106 w 243"/>
                <a:gd name="T21" fmla="*/ 139 h 168"/>
                <a:gd name="T22" fmla="*/ 121 w 243"/>
                <a:gd name="T23" fmla="*/ 140 h 168"/>
                <a:gd name="T24" fmla="*/ 136 w 243"/>
                <a:gd name="T25" fmla="*/ 139 h 168"/>
                <a:gd name="T26" fmla="*/ 148 w 243"/>
                <a:gd name="T27" fmla="*/ 134 h 168"/>
                <a:gd name="T28" fmla="*/ 154 w 243"/>
                <a:gd name="T29" fmla="*/ 127 h 168"/>
                <a:gd name="T30" fmla="*/ 158 w 243"/>
                <a:gd name="T31" fmla="*/ 119 h 168"/>
                <a:gd name="T32" fmla="*/ 160 w 243"/>
                <a:gd name="T33" fmla="*/ 109 h 168"/>
                <a:gd name="T34" fmla="*/ 160 w 243"/>
                <a:gd name="T35" fmla="*/ 59 h 168"/>
                <a:gd name="T36" fmla="*/ 160 w 243"/>
                <a:gd name="T37" fmla="*/ 38 h 168"/>
                <a:gd name="T38" fmla="*/ 160 w 243"/>
                <a:gd name="T39" fmla="*/ 6 h 168"/>
                <a:gd name="T40" fmla="*/ 160 w 243"/>
                <a:gd name="T41" fmla="*/ 0 h 168"/>
                <a:gd name="T42" fmla="*/ 243 w 243"/>
                <a:gd name="T43" fmla="*/ 0 h 168"/>
                <a:gd name="T44" fmla="*/ 243 w 243"/>
                <a:gd name="T45" fmla="*/ 6 h 168"/>
                <a:gd name="T46" fmla="*/ 243 w 243"/>
                <a:gd name="T47" fmla="*/ 20 h 168"/>
                <a:gd name="T48" fmla="*/ 243 w 243"/>
                <a:gd name="T49" fmla="*/ 38 h 168"/>
                <a:gd name="T50" fmla="*/ 243 w 243"/>
                <a:gd name="T51" fmla="*/ 59 h 168"/>
                <a:gd name="T52" fmla="*/ 243 w 243"/>
                <a:gd name="T53" fmla="*/ 79 h 168"/>
                <a:gd name="T54" fmla="*/ 243 w 243"/>
                <a:gd name="T55" fmla="*/ 94 h 168"/>
                <a:gd name="T56" fmla="*/ 240 w 243"/>
                <a:gd name="T57" fmla="*/ 113 h 168"/>
                <a:gd name="T58" fmla="*/ 231 w 243"/>
                <a:gd name="T59" fmla="*/ 130 h 168"/>
                <a:gd name="T60" fmla="*/ 217 w 243"/>
                <a:gd name="T61" fmla="*/ 143 h 168"/>
                <a:gd name="T62" fmla="*/ 198 w 243"/>
                <a:gd name="T63" fmla="*/ 154 h 168"/>
                <a:gd name="T64" fmla="*/ 175 w 243"/>
                <a:gd name="T65" fmla="*/ 162 h 168"/>
                <a:gd name="T66" fmla="*/ 149 w 243"/>
                <a:gd name="T67" fmla="*/ 166 h 168"/>
                <a:gd name="T68" fmla="*/ 121 w 243"/>
                <a:gd name="T69" fmla="*/ 168 h 168"/>
                <a:gd name="T70" fmla="*/ 92 w 243"/>
                <a:gd name="T71" fmla="*/ 166 h 168"/>
                <a:gd name="T72" fmla="*/ 66 w 243"/>
                <a:gd name="T73" fmla="*/ 162 h 168"/>
                <a:gd name="T74" fmla="*/ 44 w 243"/>
                <a:gd name="T75" fmla="*/ 154 h 168"/>
                <a:gd name="T76" fmla="*/ 26 w 243"/>
                <a:gd name="T77" fmla="*/ 143 h 168"/>
                <a:gd name="T78" fmla="*/ 12 w 243"/>
                <a:gd name="T79" fmla="*/ 130 h 168"/>
                <a:gd name="T80" fmla="*/ 3 w 243"/>
                <a:gd name="T81" fmla="*/ 113 h 168"/>
                <a:gd name="T82" fmla="*/ 0 w 243"/>
                <a:gd name="T83" fmla="*/ 94 h 168"/>
                <a:gd name="T84" fmla="*/ 0 w 243"/>
                <a:gd name="T8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3" h="168">
                  <a:moveTo>
                    <a:pt x="0" y="0"/>
                  </a:moveTo>
                  <a:lnTo>
                    <a:pt x="83" y="0"/>
                  </a:lnTo>
                  <a:lnTo>
                    <a:pt x="83" y="6"/>
                  </a:lnTo>
                  <a:lnTo>
                    <a:pt x="83" y="19"/>
                  </a:lnTo>
                  <a:lnTo>
                    <a:pt x="83" y="59"/>
                  </a:lnTo>
                  <a:lnTo>
                    <a:pt x="83" y="80"/>
                  </a:lnTo>
                  <a:lnTo>
                    <a:pt x="83" y="109"/>
                  </a:lnTo>
                  <a:lnTo>
                    <a:pt x="84" y="119"/>
                  </a:lnTo>
                  <a:lnTo>
                    <a:pt x="87" y="127"/>
                  </a:lnTo>
                  <a:lnTo>
                    <a:pt x="95" y="134"/>
                  </a:lnTo>
                  <a:lnTo>
                    <a:pt x="106" y="139"/>
                  </a:lnTo>
                  <a:lnTo>
                    <a:pt x="121" y="140"/>
                  </a:lnTo>
                  <a:lnTo>
                    <a:pt x="136" y="139"/>
                  </a:lnTo>
                  <a:lnTo>
                    <a:pt x="148" y="134"/>
                  </a:lnTo>
                  <a:lnTo>
                    <a:pt x="154" y="127"/>
                  </a:lnTo>
                  <a:lnTo>
                    <a:pt x="158" y="119"/>
                  </a:lnTo>
                  <a:lnTo>
                    <a:pt x="160" y="109"/>
                  </a:lnTo>
                  <a:lnTo>
                    <a:pt x="160" y="59"/>
                  </a:lnTo>
                  <a:lnTo>
                    <a:pt x="160" y="38"/>
                  </a:lnTo>
                  <a:lnTo>
                    <a:pt x="160" y="6"/>
                  </a:lnTo>
                  <a:lnTo>
                    <a:pt x="160" y="0"/>
                  </a:lnTo>
                  <a:lnTo>
                    <a:pt x="243" y="0"/>
                  </a:lnTo>
                  <a:lnTo>
                    <a:pt x="243" y="6"/>
                  </a:lnTo>
                  <a:lnTo>
                    <a:pt x="243" y="20"/>
                  </a:lnTo>
                  <a:lnTo>
                    <a:pt x="243" y="38"/>
                  </a:lnTo>
                  <a:lnTo>
                    <a:pt x="243" y="59"/>
                  </a:lnTo>
                  <a:lnTo>
                    <a:pt x="243" y="79"/>
                  </a:lnTo>
                  <a:lnTo>
                    <a:pt x="243" y="94"/>
                  </a:lnTo>
                  <a:lnTo>
                    <a:pt x="240" y="113"/>
                  </a:lnTo>
                  <a:lnTo>
                    <a:pt x="231" y="130"/>
                  </a:lnTo>
                  <a:lnTo>
                    <a:pt x="217" y="143"/>
                  </a:lnTo>
                  <a:lnTo>
                    <a:pt x="198" y="154"/>
                  </a:lnTo>
                  <a:lnTo>
                    <a:pt x="175" y="162"/>
                  </a:lnTo>
                  <a:lnTo>
                    <a:pt x="149" y="166"/>
                  </a:lnTo>
                  <a:lnTo>
                    <a:pt x="121" y="168"/>
                  </a:lnTo>
                  <a:lnTo>
                    <a:pt x="92" y="166"/>
                  </a:lnTo>
                  <a:lnTo>
                    <a:pt x="66" y="162"/>
                  </a:lnTo>
                  <a:lnTo>
                    <a:pt x="44" y="154"/>
                  </a:lnTo>
                  <a:lnTo>
                    <a:pt x="26" y="143"/>
                  </a:lnTo>
                  <a:lnTo>
                    <a:pt x="12" y="130"/>
                  </a:lnTo>
                  <a:lnTo>
                    <a:pt x="3" y="113"/>
                  </a:lnTo>
                  <a:lnTo>
                    <a:pt x="0" y="94"/>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8"/>
            <p:cNvSpPr>
              <a:spLocks/>
            </p:cNvSpPr>
            <p:nvPr userDrawn="1"/>
          </p:nvSpPr>
          <p:spPr bwMode="auto">
            <a:xfrm>
              <a:off x="5770070" y="2531701"/>
              <a:ext cx="466466" cy="338885"/>
            </a:xfrm>
            <a:custGeom>
              <a:avLst/>
              <a:gdLst>
                <a:gd name="T0" fmla="*/ 149 w 234"/>
                <a:gd name="T1" fmla="*/ 1 h 170"/>
                <a:gd name="T2" fmla="*/ 201 w 234"/>
                <a:gd name="T3" fmla="*/ 13 h 170"/>
                <a:gd name="T4" fmla="*/ 190 w 234"/>
                <a:gd name="T5" fmla="*/ 44 h 170"/>
                <a:gd name="T6" fmla="*/ 154 w 234"/>
                <a:gd name="T7" fmla="*/ 30 h 170"/>
                <a:gd name="T8" fmla="*/ 119 w 234"/>
                <a:gd name="T9" fmla="*/ 26 h 170"/>
                <a:gd name="T10" fmla="*/ 92 w 234"/>
                <a:gd name="T11" fmla="*/ 27 h 170"/>
                <a:gd name="T12" fmla="*/ 78 w 234"/>
                <a:gd name="T13" fmla="*/ 38 h 170"/>
                <a:gd name="T14" fmla="*/ 90 w 234"/>
                <a:gd name="T15" fmla="*/ 48 h 170"/>
                <a:gd name="T16" fmla="*/ 122 w 234"/>
                <a:gd name="T17" fmla="*/ 56 h 170"/>
                <a:gd name="T18" fmla="*/ 161 w 234"/>
                <a:gd name="T19" fmla="*/ 63 h 170"/>
                <a:gd name="T20" fmla="*/ 196 w 234"/>
                <a:gd name="T21" fmla="*/ 72 h 170"/>
                <a:gd name="T22" fmla="*/ 223 w 234"/>
                <a:gd name="T23" fmla="*/ 89 h 170"/>
                <a:gd name="T24" fmla="*/ 234 w 234"/>
                <a:gd name="T25" fmla="*/ 114 h 170"/>
                <a:gd name="T26" fmla="*/ 222 w 234"/>
                <a:gd name="T27" fmla="*/ 143 h 170"/>
                <a:gd name="T28" fmla="*/ 187 w 234"/>
                <a:gd name="T29" fmla="*/ 161 h 170"/>
                <a:gd name="T30" fmla="*/ 140 w 234"/>
                <a:gd name="T31" fmla="*/ 169 h 170"/>
                <a:gd name="T32" fmla="*/ 81 w 234"/>
                <a:gd name="T33" fmla="*/ 169 h 170"/>
                <a:gd name="T34" fmla="*/ 30 w 234"/>
                <a:gd name="T35" fmla="*/ 155 h 170"/>
                <a:gd name="T36" fmla="*/ 0 w 234"/>
                <a:gd name="T37" fmla="*/ 138 h 170"/>
                <a:gd name="T38" fmla="*/ 48 w 234"/>
                <a:gd name="T39" fmla="*/ 128 h 170"/>
                <a:gd name="T40" fmla="*/ 92 w 234"/>
                <a:gd name="T41" fmla="*/ 141 h 170"/>
                <a:gd name="T42" fmla="*/ 124 w 234"/>
                <a:gd name="T43" fmla="*/ 144 h 170"/>
                <a:gd name="T44" fmla="*/ 145 w 234"/>
                <a:gd name="T45" fmla="*/ 141 h 170"/>
                <a:gd name="T46" fmla="*/ 155 w 234"/>
                <a:gd name="T47" fmla="*/ 132 h 170"/>
                <a:gd name="T48" fmla="*/ 142 w 234"/>
                <a:gd name="T49" fmla="*/ 120 h 170"/>
                <a:gd name="T50" fmla="*/ 110 w 234"/>
                <a:gd name="T51" fmla="*/ 111 h 170"/>
                <a:gd name="T52" fmla="*/ 75 w 234"/>
                <a:gd name="T53" fmla="*/ 105 h 170"/>
                <a:gd name="T54" fmla="*/ 44 w 234"/>
                <a:gd name="T55" fmla="*/ 96 h 170"/>
                <a:gd name="T56" fmla="*/ 16 w 234"/>
                <a:gd name="T57" fmla="*/ 81 h 170"/>
                <a:gd name="T58" fmla="*/ 4 w 234"/>
                <a:gd name="T59" fmla="*/ 56 h 170"/>
                <a:gd name="T60" fmla="*/ 16 w 234"/>
                <a:gd name="T61" fmla="*/ 29 h 170"/>
                <a:gd name="T62" fmla="*/ 45 w 234"/>
                <a:gd name="T63" fmla="*/ 10 h 170"/>
                <a:gd name="T64" fmla="*/ 81 w 234"/>
                <a:gd name="T65" fmla="*/ 3 h 170"/>
                <a:gd name="T66" fmla="*/ 118 w 234"/>
                <a:gd name="T6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170">
                  <a:moveTo>
                    <a:pt x="118" y="0"/>
                  </a:moveTo>
                  <a:lnTo>
                    <a:pt x="149" y="1"/>
                  </a:lnTo>
                  <a:lnTo>
                    <a:pt x="176" y="6"/>
                  </a:lnTo>
                  <a:lnTo>
                    <a:pt x="201" y="13"/>
                  </a:lnTo>
                  <a:lnTo>
                    <a:pt x="222" y="26"/>
                  </a:lnTo>
                  <a:lnTo>
                    <a:pt x="190" y="44"/>
                  </a:lnTo>
                  <a:lnTo>
                    <a:pt x="173" y="36"/>
                  </a:lnTo>
                  <a:lnTo>
                    <a:pt x="154" y="30"/>
                  </a:lnTo>
                  <a:lnTo>
                    <a:pt x="136" y="26"/>
                  </a:lnTo>
                  <a:lnTo>
                    <a:pt x="119" y="26"/>
                  </a:lnTo>
                  <a:lnTo>
                    <a:pt x="106" y="26"/>
                  </a:lnTo>
                  <a:lnTo>
                    <a:pt x="92" y="27"/>
                  </a:lnTo>
                  <a:lnTo>
                    <a:pt x="83" y="32"/>
                  </a:lnTo>
                  <a:lnTo>
                    <a:pt x="78" y="38"/>
                  </a:lnTo>
                  <a:lnTo>
                    <a:pt x="81" y="44"/>
                  </a:lnTo>
                  <a:lnTo>
                    <a:pt x="90" y="48"/>
                  </a:lnTo>
                  <a:lnTo>
                    <a:pt x="104" y="51"/>
                  </a:lnTo>
                  <a:lnTo>
                    <a:pt x="122" y="56"/>
                  </a:lnTo>
                  <a:lnTo>
                    <a:pt x="145" y="59"/>
                  </a:lnTo>
                  <a:lnTo>
                    <a:pt x="161" y="63"/>
                  </a:lnTo>
                  <a:lnTo>
                    <a:pt x="180" y="68"/>
                  </a:lnTo>
                  <a:lnTo>
                    <a:pt x="196" y="72"/>
                  </a:lnTo>
                  <a:lnTo>
                    <a:pt x="211" y="80"/>
                  </a:lnTo>
                  <a:lnTo>
                    <a:pt x="223" y="89"/>
                  </a:lnTo>
                  <a:lnTo>
                    <a:pt x="231" y="101"/>
                  </a:lnTo>
                  <a:lnTo>
                    <a:pt x="234" y="114"/>
                  </a:lnTo>
                  <a:lnTo>
                    <a:pt x="231" y="129"/>
                  </a:lnTo>
                  <a:lnTo>
                    <a:pt x="222" y="143"/>
                  </a:lnTo>
                  <a:lnTo>
                    <a:pt x="207" y="154"/>
                  </a:lnTo>
                  <a:lnTo>
                    <a:pt x="187" y="161"/>
                  </a:lnTo>
                  <a:lnTo>
                    <a:pt x="166" y="166"/>
                  </a:lnTo>
                  <a:lnTo>
                    <a:pt x="140" y="169"/>
                  </a:lnTo>
                  <a:lnTo>
                    <a:pt x="115" y="170"/>
                  </a:lnTo>
                  <a:lnTo>
                    <a:pt x="81" y="169"/>
                  </a:lnTo>
                  <a:lnTo>
                    <a:pt x="53" y="163"/>
                  </a:lnTo>
                  <a:lnTo>
                    <a:pt x="30" y="155"/>
                  </a:lnTo>
                  <a:lnTo>
                    <a:pt x="12" y="146"/>
                  </a:lnTo>
                  <a:lnTo>
                    <a:pt x="0" y="138"/>
                  </a:lnTo>
                  <a:lnTo>
                    <a:pt x="33" y="119"/>
                  </a:lnTo>
                  <a:lnTo>
                    <a:pt x="48" y="128"/>
                  </a:lnTo>
                  <a:lnTo>
                    <a:pt x="69" y="135"/>
                  </a:lnTo>
                  <a:lnTo>
                    <a:pt x="92" y="141"/>
                  </a:lnTo>
                  <a:lnTo>
                    <a:pt x="115" y="144"/>
                  </a:lnTo>
                  <a:lnTo>
                    <a:pt x="124" y="144"/>
                  </a:lnTo>
                  <a:lnTo>
                    <a:pt x="134" y="143"/>
                  </a:lnTo>
                  <a:lnTo>
                    <a:pt x="145" y="141"/>
                  </a:lnTo>
                  <a:lnTo>
                    <a:pt x="152" y="138"/>
                  </a:lnTo>
                  <a:lnTo>
                    <a:pt x="155" y="132"/>
                  </a:lnTo>
                  <a:lnTo>
                    <a:pt x="152" y="125"/>
                  </a:lnTo>
                  <a:lnTo>
                    <a:pt x="142" y="120"/>
                  </a:lnTo>
                  <a:lnTo>
                    <a:pt x="128" y="116"/>
                  </a:lnTo>
                  <a:lnTo>
                    <a:pt x="110" y="111"/>
                  </a:lnTo>
                  <a:lnTo>
                    <a:pt x="90" y="108"/>
                  </a:lnTo>
                  <a:lnTo>
                    <a:pt x="75" y="105"/>
                  </a:lnTo>
                  <a:lnTo>
                    <a:pt x="60" y="101"/>
                  </a:lnTo>
                  <a:lnTo>
                    <a:pt x="44" y="96"/>
                  </a:lnTo>
                  <a:lnTo>
                    <a:pt x="28" y="90"/>
                  </a:lnTo>
                  <a:lnTo>
                    <a:pt x="16" y="81"/>
                  </a:lnTo>
                  <a:lnTo>
                    <a:pt x="9" y="69"/>
                  </a:lnTo>
                  <a:lnTo>
                    <a:pt x="4" y="56"/>
                  </a:lnTo>
                  <a:lnTo>
                    <a:pt x="7" y="41"/>
                  </a:lnTo>
                  <a:lnTo>
                    <a:pt x="16" y="29"/>
                  </a:lnTo>
                  <a:lnTo>
                    <a:pt x="28" y="18"/>
                  </a:lnTo>
                  <a:lnTo>
                    <a:pt x="45" y="10"/>
                  </a:lnTo>
                  <a:lnTo>
                    <a:pt x="62" y="6"/>
                  </a:lnTo>
                  <a:lnTo>
                    <a:pt x="81" y="3"/>
                  </a:lnTo>
                  <a:lnTo>
                    <a:pt x="101" y="0"/>
                  </a:lnTo>
                  <a:lnTo>
                    <a:pt x="11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9"/>
            <p:cNvSpPr>
              <a:spLocks/>
            </p:cNvSpPr>
            <p:nvPr userDrawn="1"/>
          </p:nvSpPr>
          <p:spPr bwMode="auto">
            <a:xfrm>
              <a:off x="6272418" y="2539675"/>
              <a:ext cx="446532" cy="318951"/>
            </a:xfrm>
            <a:custGeom>
              <a:avLst/>
              <a:gdLst>
                <a:gd name="T0" fmla="*/ 17 w 224"/>
                <a:gd name="T1" fmla="*/ 0 h 160"/>
                <a:gd name="T2" fmla="*/ 208 w 224"/>
                <a:gd name="T3" fmla="*/ 0 h 160"/>
                <a:gd name="T4" fmla="*/ 224 w 224"/>
                <a:gd name="T5" fmla="*/ 25 h 160"/>
                <a:gd name="T6" fmla="*/ 224 w 224"/>
                <a:gd name="T7" fmla="*/ 28 h 160"/>
                <a:gd name="T8" fmla="*/ 154 w 224"/>
                <a:gd name="T9" fmla="*/ 28 h 160"/>
                <a:gd name="T10" fmla="*/ 154 w 224"/>
                <a:gd name="T11" fmla="*/ 160 h 160"/>
                <a:gd name="T12" fmla="*/ 69 w 224"/>
                <a:gd name="T13" fmla="*/ 160 h 160"/>
                <a:gd name="T14" fmla="*/ 69 w 224"/>
                <a:gd name="T15" fmla="*/ 28 h 160"/>
                <a:gd name="T16" fmla="*/ 0 w 224"/>
                <a:gd name="T17" fmla="*/ 28 h 160"/>
                <a:gd name="T18" fmla="*/ 0 w 224"/>
                <a:gd name="T19" fmla="*/ 25 h 160"/>
                <a:gd name="T20" fmla="*/ 17 w 224"/>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60">
                  <a:moveTo>
                    <a:pt x="17" y="0"/>
                  </a:moveTo>
                  <a:lnTo>
                    <a:pt x="208" y="0"/>
                  </a:lnTo>
                  <a:lnTo>
                    <a:pt x="224" y="25"/>
                  </a:lnTo>
                  <a:lnTo>
                    <a:pt x="224" y="28"/>
                  </a:lnTo>
                  <a:lnTo>
                    <a:pt x="154" y="28"/>
                  </a:lnTo>
                  <a:lnTo>
                    <a:pt x="154" y="160"/>
                  </a:lnTo>
                  <a:lnTo>
                    <a:pt x="69" y="160"/>
                  </a:lnTo>
                  <a:lnTo>
                    <a:pt x="69" y="28"/>
                  </a:lnTo>
                  <a:lnTo>
                    <a:pt x="0" y="28"/>
                  </a:lnTo>
                  <a:lnTo>
                    <a:pt x="0" y="25"/>
                  </a:lnTo>
                  <a:lnTo>
                    <a:pt x="1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Rectangle 30"/>
            <p:cNvSpPr>
              <a:spLocks noChangeArrowheads="1"/>
            </p:cNvSpPr>
            <p:nvPr userDrawn="1"/>
          </p:nvSpPr>
          <p:spPr bwMode="auto">
            <a:xfrm>
              <a:off x="6802675" y="2539675"/>
              <a:ext cx="165457" cy="318951"/>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31"/>
            <p:cNvSpPr>
              <a:spLocks/>
            </p:cNvSpPr>
            <p:nvPr userDrawn="1"/>
          </p:nvSpPr>
          <p:spPr bwMode="auto">
            <a:xfrm>
              <a:off x="7085744" y="2539675"/>
              <a:ext cx="500355" cy="318951"/>
            </a:xfrm>
            <a:custGeom>
              <a:avLst/>
              <a:gdLst>
                <a:gd name="T0" fmla="*/ 0 w 251"/>
                <a:gd name="T1" fmla="*/ 0 h 160"/>
                <a:gd name="T2" fmla="*/ 47 w 251"/>
                <a:gd name="T3" fmla="*/ 0 h 160"/>
                <a:gd name="T4" fmla="*/ 198 w 251"/>
                <a:gd name="T5" fmla="*/ 86 h 160"/>
                <a:gd name="T6" fmla="*/ 198 w 251"/>
                <a:gd name="T7" fmla="*/ 0 h 160"/>
                <a:gd name="T8" fmla="*/ 251 w 251"/>
                <a:gd name="T9" fmla="*/ 0 h 160"/>
                <a:gd name="T10" fmla="*/ 251 w 251"/>
                <a:gd name="T11" fmla="*/ 160 h 160"/>
                <a:gd name="T12" fmla="*/ 199 w 251"/>
                <a:gd name="T13" fmla="*/ 160 h 160"/>
                <a:gd name="T14" fmla="*/ 53 w 251"/>
                <a:gd name="T15" fmla="*/ 79 h 160"/>
                <a:gd name="T16" fmla="*/ 53 w 251"/>
                <a:gd name="T17" fmla="*/ 160 h 160"/>
                <a:gd name="T18" fmla="*/ 0 w 251"/>
                <a:gd name="T19" fmla="*/ 160 h 160"/>
                <a:gd name="T20" fmla="*/ 0 w 251"/>
                <a:gd name="T2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160">
                  <a:moveTo>
                    <a:pt x="0" y="0"/>
                  </a:moveTo>
                  <a:lnTo>
                    <a:pt x="47" y="0"/>
                  </a:lnTo>
                  <a:lnTo>
                    <a:pt x="198" y="86"/>
                  </a:lnTo>
                  <a:lnTo>
                    <a:pt x="198" y="0"/>
                  </a:lnTo>
                  <a:lnTo>
                    <a:pt x="251" y="0"/>
                  </a:lnTo>
                  <a:lnTo>
                    <a:pt x="251" y="160"/>
                  </a:lnTo>
                  <a:lnTo>
                    <a:pt x="199" y="160"/>
                  </a:lnTo>
                  <a:lnTo>
                    <a:pt x="53" y="79"/>
                  </a:lnTo>
                  <a:lnTo>
                    <a:pt x="53" y="160"/>
                  </a:lnTo>
                  <a:lnTo>
                    <a:pt x="0" y="16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32"/>
            <p:cNvSpPr>
              <a:spLocks noEditPoints="1"/>
            </p:cNvSpPr>
            <p:nvPr userDrawn="1"/>
          </p:nvSpPr>
          <p:spPr bwMode="auto">
            <a:xfrm>
              <a:off x="3902213" y="1694455"/>
              <a:ext cx="4387573" cy="2527687"/>
            </a:xfrm>
            <a:custGeom>
              <a:avLst/>
              <a:gdLst>
                <a:gd name="T0" fmla="*/ 200 w 2201"/>
                <a:gd name="T1" fmla="*/ 30 h 1268"/>
                <a:gd name="T2" fmla="*/ 623 w 2201"/>
                <a:gd name="T3" fmla="*/ 190 h 1268"/>
                <a:gd name="T4" fmla="*/ 410 w 2201"/>
                <a:gd name="T5" fmla="*/ 268 h 1268"/>
                <a:gd name="T6" fmla="*/ 198 w 2201"/>
                <a:gd name="T7" fmla="*/ 376 h 1268"/>
                <a:gd name="T8" fmla="*/ 25 w 2201"/>
                <a:gd name="T9" fmla="*/ 560 h 1268"/>
                <a:gd name="T10" fmla="*/ 97 w 2201"/>
                <a:gd name="T11" fmla="*/ 751 h 1268"/>
                <a:gd name="T12" fmla="*/ 383 w 2201"/>
                <a:gd name="T13" fmla="*/ 903 h 1268"/>
                <a:gd name="T14" fmla="*/ 821 w 2201"/>
                <a:gd name="T15" fmla="*/ 994 h 1268"/>
                <a:gd name="T16" fmla="*/ 1274 w 2201"/>
                <a:gd name="T17" fmla="*/ 1003 h 1268"/>
                <a:gd name="T18" fmla="*/ 1284 w 2201"/>
                <a:gd name="T19" fmla="*/ 1016 h 1268"/>
                <a:gd name="T20" fmla="*/ 1100 w 2201"/>
                <a:gd name="T21" fmla="*/ 1028 h 1268"/>
                <a:gd name="T22" fmla="*/ 1265 w 2201"/>
                <a:gd name="T23" fmla="*/ 1076 h 1268"/>
                <a:gd name="T24" fmla="*/ 1526 w 2201"/>
                <a:gd name="T25" fmla="*/ 1152 h 1268"/>
                <a:gd name="T26" fmla="*/ 1754 w 2201"/>
                <a:gd name="T27" fmla="*/ 1218 h 1268"/>
                <a:gd name="T28" fmla="*/ 1854 w 2201"/>
                <a:gd name="T29" fmla="*/ 1247 h 1268"/>
                <a:gd name="T30" fmla="*/ 1869 w 2201"/>
                <a:gd name="T31" fmla="*/ 1242 h 1268"/>
                <a:gd name="T32" fmla="*/ 1867 w 2201"/>
                <a:gd name="T33" fmla="*/ 1224 h 1268"/>
                <a:gd name="T34" fmla="*/ 1627 w 2201"/>
                <a:gd name="T35" fmla="*/ 1003 h 1268"/>
                <a:gd name="T36" fmla="*/ 1790 w 2201"/>
                <a:gd name="T37" fmla="*/ 914 h 1268"/>
                <a:gd name="T38" fmla="*/ 2100 w 2201"/>
                <a:gd name="T39" fmla="*/ 754 h 1268"/>
                <a:gd name="T40" fmla="*/ 2175 w 2201"/>
                <a:gd name="T41" fmla="*/ 558 h 1268"/>
                <a:gd name="T42" fmla="*/ 2005 w 2201"/>
                <a:gd name="T43" fmla="*/ 376 h 1268"/>
                <a:gd name="T44" fmla="*/ 1636 w 2201"/>
                <a:gd name="T45" fmla="*/ 245 h 1268"/>
                <a:gd name="T46" fmla="*/ 1240 w 2201"/>
                <a:gd name="T47" fmla="*/ 194 h 1268"/>
                <a:gd name="T48" fmla="*/ 984 w 2201"/>
                <a:gd name="T49" fmla="*/ 191 h 1268"/>
                <a:gd name="T50" fmla="*/ 985 w 2201"/>
                <a:gd name="T51" fmla="*/ 174 h 1268"/>
                <a:gd name="T52" fmla="*/ 1095 w 2201"/>
                <a:gd name="T53" fmla="*/ 150 h 1268"/>
                <a:gd name="T54" fmla="*/ 885 w 2201"/>
                <a:gd name="T55" fmla="*/ 84 h 1268"/>
                <a:gd name="T56" fmla="*/ 713 w 2201"/>
                <a:gd name="T57" fmla="*/ 31 h 1268"/>
                <a:gd name="T58" fmla="*/ 210 w 2201"/>
                <a:gd name="T59" fmla="*/ 19 h 1268"/>
                <a:gd name="T60" fmla="*/ 1240 w 2201"/>
                <a:gd name="T61" fmla="*/ 174 h 1268"/>
                <a:gd name="T62" fmla="*/ 1754 w 2201"/>
                <a:gd name="T63" fmla="*/ 254 h 1268"/>
                <a:gd name="T64" fmla="*/ 2089 w 2201"/>
                <a:gd name="T65" fmla="*/ 409 h 1268"/>
                <a:gd name="T66" fmla="*/ 2201 w 2201"/>
                <a:gd name="T67" fmla="*/ 599 h 1268"/>
                <a:gd name="T68" fmla="*/ 2121 w 2201"/>
                <a:gd name="T69" fmla="*/ 760 h 1268"/>
                <a:gd name="T70" fmla="*/ 1819 w 2201"/>
                <a:gd name="T71" fmla="*/ 924 h 1268"/>
                <a:gd name="T72" fmla="*/ 1699 w 2201"/>
                <a:gd name="T73" fmla="*/ 1009 h 1268"/>
                <a:gd name="T74" fmla="*/ 1613 w 2201"/>
                <a:gd name="T75" fmla="*/ 1075 h 1268"/>
                <a:gd name="T76" fmla="*/ 1769 w 2201"/>
                <a:gd name="T77" fmla="*/ 1152 h 1268"/>
                <a:gd name="T78" fmla="*/ 1869 w 2201"/>
                <a:gd name="T79" fmla="*/ 1201 h 1268"/>
                <a:gd name="T80" fmla="*/ 1891 w 2201"/>
                <a:gd name="T81" fmla="*/ 1242 h 1268"/>
                <a:gd name="T82" fmla="*/ 1857 w 2201"/>
                <a:gd name="T83" fmla="*/ 1268 h 1268"/>
                <a:gd name="T84" fmla="*/ 907 w 2201"/>
                <a:gd name="T85" fmla="*/ 1021 h 1268"/>
                <a:gd name="T86" fmla="*/ 387 w 2201"/>
                <a:gd name="T87" fmla="*/ 926 h 1268"/>
                <a:gd name="T88" fmla="*/ 77 w 2201"/>
                <a:gd name="T89" fmla="*/ 759 h 1268"/>
                <a:gd name="T90" fmla="*/ 5 w 2201"/>
                <a:gd name="T91" fmla="*/ 558 h 1268"/>
                <a:gd name="T92" fmla="*/ 173 w 2201"/>
                <a:gd name="T93" fmla="*/ 369 h 1268"/>
                <a:gd name="T94" fmla="*/ 296 w 2201"/>
                <a:gd name="T95" fmla="*/ 248 h 1268"/>
                <a:gd name="T96" fmla="*/ 523 w 2201"/>
                <a:gd name="T97" fmla="*/ 174 h 1268"/>
                <a:gd name="T98" fmla="*/ 369 w 2201"/>
                <a:gd name="T99" fmla="*/ 120 h 1268"/>
                <a:gd name="T100" fmla="*/ 230 w 2201"/>
                <a:gd name="T101" fmla="*/ 71 h 1268"/>
                <a:gd name="T102" fmla="*/ 182 w 2201"/>
                <a:gd name="T103" fmla="*/ 4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01" h="1268">
                  <a:moveTo>
                    <a:pt x="210" y="19"/>
                  </a:moveTo>
                  <a:lnTo>
                    <a:pt x="206" y="21"/>
                  </a:lnTo>
                  <a:lnTo>
                    <a:pt x="203" y="22"/>
                  </a:lnTo>
                  <a:lnTo>
                    <a:pt x="200" y="25"/>
                  </a:lnTo>
                  <a:lnTo>
                    <a:pt x="200" y="30"/>
                  </a:lnTo>
                  <a:lnTo>
                    <a:pt x="200" y="34"/>
                  </a:lnTo>
                  <a:lnTo>
                    <a:pt x="203" y="37"/>
                  </a:lnTo>
                  <a:lnTo>
                    <a:pt x="206" y="40"/>
                  </a:lnTo>
                  <a:lnTo>
                    <a:pt x="586" y="176"/>
                  </a:lnTo>
                  <a:lnTo>
                    <a:pt x="623" y="190"/>
                  </a:lnTo>
                  <a:lnTo>
                    <a:pt x="585" y="196"/>
                  </a:lnTo>
                  <a:lnTo>
                    <a:pt x="506" y="211"/>
                  </a:lnTo>
                  <a:lnTo>
                    <a:pt x="431" y="229"/>
                  </a:lnTo>
                  <a:lnTo>
                    <a:pt x="360" y="250"/>
                  </a:lnTo>
                  <a:lnTo>
                    <a:pt x="410" y="268"/>
                  </a:lnTo>
                  <a:lnTo>
                    <a:pt x="438" y="277"/>
                  </a:lnTo>
                  <a:lnTo>
                    <a:pt x="410" y="286"/>
                  </a:lnTo>
                  <a:lnTo>
                    <a:pt x="331" y="313"/>
                  </a:lnTo>
                  <a:lnTo>
                    <a:pt x="260" y="343"/>
                  </a:lnTo>
                  <a:lnTo>
                    <a:pt x="198" y="376"/>
                  </a:lnTo>
                  <a:lnTo>
                    <a:pt x="145" y="409"/>
                  </a:lnTo>
                  <a:lnTo>
                    <a:pt x="102" y="446"/>
                  </a:lnTo>
                  <a:lnTo>
                    <a:pt x="65" y="482"/>
                  </a:lnTo>
                  <a:lnTo>
                    <a:pt x="41" y="521"/>
                  </a:lnTo>
                  <a:lnTo>
                    <a:pt x="25" y="560"/>
                  </a:lnTo>
                  <a:lnTo>
                    <a:pt x="20" y="599"/>
                  </a:lnTo>
                  <a:lnTo>
                    <a:pt x="25" y="640"/>
                  </a:lnTo>
                  <a:lnTo>
                    <a:pt x="40" y="677"/>
                  </a:lnTo>
                  <a:lnTo>
                    <a:pt x="64" y="715"/>
                  </a:lnTo>
                  <a:lnTo>
                    <a:pt x="97" y="751"/>
                  </a:lnTo>
                  <a:lnTo>
                    <a:pt x="139" y="786"/>
                  </a:lnTo>
                  <a:lnTo>
                    <a:pt x="189" y="819"/>
                  </a:lnTo>
                  <a:lnTo>
                    <a:pt x="247" y="849"/>
                  </a:lnTo>
                  <a:lnTo>
                    <a:pt x="312" y="878"/>
                  </a:lnTo>
                  <a:lnTo>
                    <a:pt x="383" y="903"/>
                  </a:lnTo>
                  <a:lnTo>
                    <a:pt x="460" y="927"/>
                  </a:lnTo>
                  <a:lnTo>
                    <a:pt x="543" y="948"/>
                  </a:lnTo>
                  <a:lnTo>
                    <a:pt x="630" y="967"/>
                  </a:lnTo>
                  <a:lnTo>
                    <a:pt x="722" y="982"/>
                  </a:lnTo>
                  <a:lnTo>
                    <a:pt x="821" y="994"/>
                  </a:lnTo>
                  <a:lnTo>
                    <a:pt x="920" y="1003"/>
                  </a:lnTo>
                  <a:lnTo>
                    <a:pt x="1024" y="1007"/>
                  </a:lnTo>
                  <a:lnTo>
                    <a:pt x="1100" y="1007"/>
                  </a:lnTo>
                  <a:lnTo>
                    <a:pt x="1188" y="1006"/>
                  </a:lnTo>
                  <a:lnTo>
                    <a:pt x="1274" y="1003"/>
                  </a:lnTo>
                  <a:lnTo>
                    <a:pt x="1278" y="1003"/>
                  </a:lnTo>
                  <a:lnTo>
                    <a:pt x="1281" y="1006"/>
                  </a:lnTo>
                  <a:lnTo>
                    <a:pt x="1284" y="1009"/>
                  </a:lnTo>
                  <a:lnTo>
                    <a:pt x="1284" y="1012"/>
                  </a:lnTo>
                  <a:lnTo>
                    <a:pt x="1284" y="1016"/>
                  </a:lnTo>
                  <a:lnTo>
                    <a:pt x="1283" y="1019"/>
                  </a:lnTo>
                  <a:lnTo>
                    <a:pt x="1280" y="1021"/>
                  </a:lnTo>
                  <a:lnTo>
                    <a:pt x="1275" y="1022"/>
                  </a:lnTo>
                  <a:lnTo>
                    <a:pt x="1189" y="1027"/>
                  </a:lnTo>
                  <a:lnTo>
                    <a:pt x="1100" y="1028"/>
                  </a:lnTo>
                  <a:lnTo>
                    <a:pt x="1100" y="1028"/>
                  </a:lnTo>
                  <a:lnTo>
                    <a:pt x="1133" y="1037"/>
                  </a:lnTo>
                  <a:lnTo>
                    <a:pt x="1172" y="1049"/>
                  </a:lnTo>
                  <a:lnTo>
                    <a:pt x="1216" y="1061"/>
                  </a:lnTo>
                  <a:lnTo>
                    <a:pt x="1265" y="1076"/>
                  </a:lnTo>
                  <a:lnTo>
                    <a:pt x="1314" y="1090"/>
                  </a:lnTo>
                  <a:lnTo>
                    <a:pt x="1366" y="1105"/>
                  </a:lnTo>
                  <a:lnTo>
                    <a:pt x="1419" y="1120"/>
                  </a:lnTo>
                  <a:lnTo>
                    <a:pt x="1473" y="1137"/>
                  </a:lnTo>
                  <a:lnTo>
                    <a:pt x="1526" y="1152"/>
                  </a:lnTo>
                  <a:lnTo>
                    <a:pt x="1577" y="1167"/>
                  </a:lnTo>
                  <a:lnTo>
                    <a:pt x="1625" y="1182"/>
                  </a:lnTo>
                  <a:lnTo>
                    <a:pt x="1672" y="1195"/>
                  </a:lnTo>
                  <a:lnTo>
                    <a:pt x="1716" y="1207"/>
                  </a:lnTo>
                  <a:lnTo>
                    <a:pt x="1754" y="1218"/>
                  </a:lnTo>
                  <a:lnTo>
                    <a:pt x="1789" y="1229"/>
                  </a:lnTo>
                  <a:lnTo>
                    <a:pt x="1816" y="1236"/>
                  </a:lnTo>
                  <a:lnTo>
                    <a:pt x="1835" y="1242"/>
                  </a:lnTo>
                  <a:lnTo>
                    <a:pt x="1849" y="1247"/>
                  </a:lnTo>
                  <a:lnTo>
                    <a:pt x="1854" y="1247"/>
                  </a:lnTo>
                  <a:lnTo>
                    <a:pt x="1857" y="1248"/>
                  </a:lnTo>
                  <a:lnTo>
                    <a:pt x="1861" y="1248"/>
                  </a:lnTo>
                  <a:lnTo>
                    <a:pt x="1864" y="1247"/>
                  </a:lnTo>
                  <a:lnTo>
                    <a:pt x="1867" y="1244"/>
                  </a:lnTo>
                  <a:lnTo>
                    <a:pt x="1869" y="1242"/>
                  </a:lnTo>
                  <a:lnTo>
                    <a:pt x="1870" y="1238"/>
                  </a:lnTo>
                  <a:lnTo>
                    <a:pt x="1872" y="1235"/>
                  </a:lnTo>
                  <a:lnTo>
                    <a:pt x="1872" y="1230"/>
                  </a:lnTo>
                  <a:lnTo>
                    <a:pt x="1869" y="1227"/>
                  </a:lnTo>
                  <a:lnTo>
                    <a:pt x="1867" y="1224"/>
                  </a:lnTo>
                  <a:lnTo>
                    <a:pt x="1864" y="1221"/>
                  </a:lnTo>
                  <a:lnTo>
                    <a:pt x="1502" y="1042"/>
                  </a:lnTo>
                  <a:lnTo>
                    <a:pt x="1471" y="1028"/>
                  </a:lnTo>
                  <a:lnTo>
                    <a:pt x="1505" y="1024"/>
                  </a:lnTo>
                  <a:lnTo>
                    <a:pt x="1627" y="1003"/>
                  </a:lnTo>
                  <a:lnTo>
                    <a:pt x="1745" y="979"/>
                  </a:lnTo>
                  <a:lnTo>
                    <a:pt x="1701" y="956"/>
                  </a:lnTo>
                  <a:lnTo>
                    <a:pt x="1677" y="944"/>
                  </a:lnTo>
                  <a:lnTo>
                    <a:pt x="1704" y="938"/>
                  </a:lnTo>
                  <a:lnTo>
                    <a:pt x="1790" y="914"/>
                  </a:lnTo>
                  <a:lnTo>
                    <a:pt x="1869" y="885"/>
                  </a:lnTo>
                  <a:lnTo>
                    <a:pt x="1938" y="857"/>
                  </a:lnTo>
                  <a:lnTo>
                    <a:pt x="2002" y="825"/>
                  </a:lnTo>
                  <a:lnTo>
                    <a:pt x="2054" y="790"/>
                  </a:lnTo>
                  <a:lnTo>
                    <a:pt x="2100" y="754"/>
                  </a:lnTo>
                  <a:lnTo>
                    <a:pt x="2134" y="718"/>
                  </a:lnTo>
                  <a:lnTo>
                    <a:pt x="2160" y="679"/>
                  </a:lnTo>
                  <a:lnTo>
                    <a:pt x="2175" y="640"/>
                  </a:lnTo>
                  <a:lnTo>
                    <a:pt x="2181" y="599"/>
                  </a:lnTo>
                  <a:lnTo>
                    <a:pt x="2175" y="558"/>
                  </a:lnTo>
                  <a:lnTo>
                    <a:pt x="2160" y="519"/>
                  </a:lnTo>
                  <a:lnTo>
                    <a:pt x="2134" y="482"/>
                  </a:lnTo>
                  <a:lnTo>
                    <a:pt x="2100" y="444"/>
                  </a:lnTo>
                  <a:lnTo>
                    <a:pt x="2056" y="409"/>
                  </a:lnTo>
                  <a:lnTo>
                    <a:pt x="2005" y="376"/>
                  </a:lnTo>
                  <a:lnTo>
                    <a:pt x="1944" y="345"/>
                  </a:lnTo>
                  <a:lnTo>
                    <a:pt x="1878" y="316"/>
                  </a:lnTo>
                  <a:lnTo>
                    <a:pt x="1804" y="289"/>
                  </a:lnTo>
                  <a:lnTo>
                    <a:pt x="1722" y="266"/>
                  </a:lnTo>
                  <a:lnTo>
                    <a:pt x="1636" y="245"/>
                  </a:lnTo>
                  <a:lnTo>
                    <a:pt x="1544" y="227"/>
                  </a:lnTo>
                  <a:lnTo>
                    <a:pt x="1447" y="212"/>
                  </a:lnTo>
                  <a:lnTo>
                    <a:pt x="1346" y="202"/>
                  </a:lnTo>
                  <a:lnTo>
                    <a:pt x="1240" y="194"/>
                  </a:lnTo>
                  <a:lnTo>
                    <a:pt x="1240" y="194"/>
                  </a:lnTo>
                  <a:lnTo>
                    <a:pt x="1171" y="193"/>
                  </a:lnTo>
                  <a:lnTo>
                    <a:pt x="1100" y="191"/>
                  </a:lnTo>
                  <a:lnTo>
                    <a:pt x="990" y="194"/>
                  </a:lnTo>
                  <a:lnTo>
                    <a:pt x="987" y="193"/>
                  </a:lnTo>
                  <a:lnTo>
                    <a:pt x="984" y="191"/>
                  </a:lnTo>
                  <a:lnTo>
                    <a:pt x="981" y="188"/>
                  </a:lnTo>
                  <a:lnTo>
                    <a:pt x="979" y="184"/>
                  </a:lnTo>
                  <a:lnTo>
                    <a:pt x="981" y="180"/>
                  </a:lnTo>
                  <a:lnTo>
                    <a:pt x="982" y="176"/>
                  </a:lnTo>
                  <a:lnTo>
                    <a:pt x="985" y="174"/>
                  </a:lnTo>
                  <a:lnTo>
                    <a:pt x="990" y="173"/>
                  </a:lnTo>
                  <a:lnTo>
                    <a:pt x="1100" y="171"/>
                  </a:lnTo>
                  <a:lnTo>
                    <a:pt x="1165" y="171"/>
                  </a:lnTo>
                  <a:lnTo>
                    <a:pt x="1132" y="162"/>
                  </a:lnTo>
                  <a:lnTo>
                    <a:pt x="1095" y="150"/>
                  </a:lnTo>
                  <a:lnTo>
                    <a:pt x="1056" y="138"/>
                  </a:lnTo>
                  <a:lnTo>
                    <a:pt x="1014" y="125"/>
                  </a:lnTo>
                  <a:lnTo>
                    <a:pt x="972" y="111"/>
                  </a:lnTo>
                  <a:lnTo>
                    <a:pt x="928" y="98"/>
                  </a:lnTo>
                  <a:lnTo>
                    <a:pt x="885" y="84"/>
                  </a:lnTo>
                  <a:lnTo>
                    <a:pt x="843" y="72"/>
                  </a:lnTo>
                  <a:lnTo>
                    <a:pt x="805" y="60"/>
                  </a:lnTo>
                  <a:lnTo>
                    <a:pt x="769" y="49"/>
                  </a:lnTo>
                  <a:lnTo>
                    <a:pt x="739" y="39"/>
                  </a:lnTo>
                  <a:lnTo>
                    <a:pt x="713" y="31"/>
                  </a:lnTo>
                  <a:lnTo>
                    <a:pt x="694" y="25"/>
                  </a:lnTo>
                  <a:lnTo>
                    <a:pt x="682" y="21"/>
                  </a:lnTo>
                  <a:lnTo>
                    <a:pt x="677" y="19"/>
                  </a:lnTo>
                  <a:lnTo>
                    <a:pt x="672" y="19"/>
                  </a:lnTo>
                  <a:lnTo>
                    <a:pt x="210" y="19"/>
                  </a:lnTo>
                  <a:close/>
                  <a:moveTo>
                    <a:pt x="210" y="0"/>
                  </a:moveTo>
                  <a:lnTo>
                    <a:pt x="672" y="0"/>
                  </a:lnTo>
                  <a:lnTo>
                    <a:pt x="679" y="0"/>
                  </a:lnTo>
                  <a:lnTo>
                    <a:pt x="683" y="1"/>
                  </a:lnTo>
                  <a:lnTo>
                    <a:pt x="1240" y="174"/>
                  </a:lnTo>
                  <a:lnTo>
                    <a:pt x="1352" y="182"/>
                  </a:lnTo>
                  <a:lnTo>
                    <a:pt x="1459" y="194"/>
                  </a:lnTo>
                  <a:lnTo>
                    <a:pt x="1562" y="211"/>
                  </a:lnTo>
                  <a:lnTo>
                    <a:pt x="1662" y="230"/>
                  </a:lnTo>
                  <a:lnTo>
                    <a:pt x="1754" y="254"/>
                  </a:lnTo>
                  <a:lnTo>
                    <a:pt x="1841" y="281"/>
                  </a:lnTo>
                  <a:lnTo>
                    <a:pt x="1920" y="313"/>
                  </a:lnTo>
                  <a:lnTo>
                    <a:pt x="1985" y="343"/>
                  </a:lnTo>
                  <a:lnTo>
                    <a:pt x="2041" y="376"/>
                  </a:lnTo>
                  <a:lnTo>
                    <a:pt x="2089" y="409"/>
                  </a:lnTo>
                  <a:lnTo>
                    <a:pt x="2128" y="446"/>
                  </a:lnTo>
                  <a:lnTo>
                    <a:pt x="2160" y="483"/>
                  </a:lnTo>
                  <a:lnTo>
                    <a:pt x="2183" y="521"/>
                  </a:lnTo>
                  <a:lnTo>
                    <a:pt x="2196" y="560"/>
                  </a:lnTo>
                  <a:lnTo>
                    <a:pt x="2201" y="599"/>
                  </a:lnTo>
                  <a:lnTo>
                    <a:pt x="2201" y="599"/>
                  </a:lnTo>
                  <a:lnTo>
                    <a:pt x="2196" y="641"/>
                  </a:lnTo>
                  <a:lnTo>
                    <a:pt x="2181" y="682"/>
                  </a:lnTo>
                  <a:lnTo>
                    <a:pt x="2156" y="723"/>
                  </a:lnTo>
                  <a:lnTo>
                    <a:pt x="2121" y="760"/>
                  </a:lnTo>
                  <a:lnTo>
                    <a:pt x="2077" y="798"/>
                  </a:lnTo>
                  <a:lnTo>
                    <a:pt x="2026" y="833"/>
                  </a:lnTo>
                  <a:lnTo>
                    <a:pt x="1964" y="866"/>
                  </a:lnTo>
                  <a:lnTo>
                    <a:pt x="1896" y="897"/>
                  </a:lnTo>
                  <a:lnTo>
                    <a:pt x="1819" y="924"/>
                  </a:lnTo>
                  <a:lnTo>
                    <a:pt x="1734" y="950"/>
                  </a:lnTo>
                  <a:lnTo>
                    <a:pt x="1778" y="973"/>
                  </a:lnTo>
                  <a:lnTo>
                    <a:pt x="1802" y="985"/>
                  </a:lnTo>
                  <a:lnTo>
                    <a:pt x="1777" y="991"/>
                  </a:lnTo>
                  <a:lnTo>
                    <a:pt x="1699" y="1009"/>
                  </a:lnTo>
                  <a:lnTo>
                    <a:pt x="1621" y="1025"/>
                  </a:lnTo>
                  <a:lnTo>
                    <a:pt x="1539" y="1039"/>
                  </a:lnTo>
                  <a:lnTo>
                    <a:pt x="1561" y="1049"/>
                  </a:lnTo>
                  <a:lnTo>
                    <a:pt x="1585" y="1061"/>
                  </a:lnTo>
                  <a:lnTo>
                    <a:pt x="1613" y="1075"/>
                  </a:lnTo>
                  <a:lnTo>
                    <a:pt x="1642" y="1090"/>
                  </a:lnTo>
                  <a:lnTo>
                    <a:pt x="1674" y="1105"/>
                  </a:lnTo>
                  <a:lnTo>
                    <a:pt x="1707" y="1122"/>
                  </a:lnTo>
                  <a:lnTo>
                    <a:pt x="1739" y="1137"/>
                  </a:lnTo>
                  <a:lnTo>
                    <a:pt x="1769" y="1152"/>
                  </a:lnTo>
                  <a:lnTo>
                    <a:pt x="1796" y="1165"/>
                  </a:lnTo>
                  <a:lnTo>
                    <a:pt x="1822" y="1179"/>
                  </a:lnTo>
                  <a:lnTo>
                    <a:pt x="1843" y="1189"/>
                  </a:lnTo>
                  <a:lnTo>
                    <a:pt x="1858" y="1197"/>
                  </a:lnTo>
                  <a:lnTo>
                    <a:pt x="1869" y="1201"/>
                  </a:lnTo>
                  <a:lnTo>
                    <a:pt x="1872" y="1203"/>
                  </a:lnTo>
                  <a:lnTo>
                    <a:pt x="1882" y="1212"/>
                  </a:lnTo>
                  <a:lnTo>
                    <a:pt x="1890" y="1223"/>
                  </a:lnTo>
                  <a:lnTo>
                    <a:pt x="1891" y="1236"/>
                  </a:lnTo>
                  <a:lnTo>
                    <a:pt x="1891" y="1242"/>
                  </a:lnTo>
                  <a:lnTo>
                    <a:pt x="1888" y="1248"/>
                  </a:lnTo>
                  <a:lnTo>
                    <a:pt x="1885" y="1254"/>
                  </a:lnTo>
                  <a:lnTo>
                    <a:pt x="1881" y="1259"/>
                  </a:lnTo>
                  <a:lnTo>
                    <a:pt x="1870" y="1266"/>
                  </a:lnTo>
                  <a:lnTo>
                    <a:pt x="1857" y="1268"/>
                  </a:lnTo>
                  <a:lnTo>
                    <a:pt x="1852" y="1268"/>
                  </a:lnTo>
                  <a:lnTo>
                    <a:pt x="1848" y="1266"/>
                  </a:lnTo>
                  <a:lnTo>
                    <a:pt x="1024" y="1027"/>
                  </a:lnTo>
                  <a:lnTo>
                    <a:pt x="1023" y="1027"/>
                  </a:lnTo>
                  <a:lnTo>
                    <a:pt x="907" y="1021"/>
                  </a:lnTo>
                  <a:lnTo>
                    <a:pt x="793" y="1012"/>
                  </a:lnTo>
                  <a:lnTo>
                    <a:pt x="683" y="997"/>
                  </a:lnTo>
                  <a:lnTo>
                    <a:pt x="579" y="977"/>
                  </a:lnTo>
                  <a:lnTo>
                    <a:pt x="479" y="953"/>
                  </a:lnTo>
                  <a:lnTo>
                    <a:pt x="387" y="926"/>
                  </a:lnTo>
                  <a:lnTo>
                    <a:pt x="301" y="894"/>
                  </a:lnTo>
                  <a:lnTo>
                    <a:pt x="233" y="864"/>
                  </a:lnTo>
                  <a:lnTo>
                    <a:pt x="173" y="831"/>
                  </a:lnTo>
                  <a:lnTo>
                    <a:pt x="120" y="796"/>
                  </a:lnTo>
                  <a:lnTo>
                    <a:pt x="77" y="759"/>
                  </a:lnTo>
                  <a:lnTo>
                    <a:pt x="44" y="721"/>
                  </a:lnTo>
                  <a:lnTo>
                    <a:pt x="20" y="682"/>
                  </a:lnTo>
                  <a:lnTo>
                    <a:pt x="5" y="641"/>
                  </a:lnTo>
                  <a:lnTo>
                    <a:pt x="0" y="599"/>
                  </a:lnTo>
                  <a:lnTo>
                    <a:pt x="5" y="558"/>
                  </a:lnTo>
                  <a:lnTo>
                    <a:pt x="20" y="518"/>
                  </a:lnTo>
                  <a:lnTo>
                    <a:pt x="44" y="479"/>
                  </a:lnTo>
                  <a:lnTo>
                    <a:pt x="77" y="439"/>
                  </a:lnTo>
                  <a:lnTo>
                    <a:pt x="121" y="403"/>
                  </a:lnTo>
                  <a:lnTo>
                    <a:pt x="173" y="369"/>
                  </a:lnTo>
                  <a:lnTo>
                    <a:pt x="231" y="336"/>
                  </a:lnTo>
                  <a:lnTo>
                    <a:pt x="299" y="304"/>
                  </a:lnTo>
                  <a:lnTo>
                    <a:pt x="376" y="277"/>
                  </a:lnTo>
                  <a:lnTo>
                    <a:pt x="325" y="259"/>
                  </a:lnTo>
                  <a:lnTo>
                    <a:pt x="296" y="248"/>
                  </a:lnTo>
                  <a:lnTo>
                    <a:pt x="325" y="239"/>
                  </a:lnTo>
                  <a:lnTo>
                    <a:pt x="395" y="218"/>
                  </a:lnTo>
                  <a:lnTo>
                    <a:pt x="469" y="200"/>
                  </a:lnTo>
                  <a:lnTo>
                    <a:pt x="546" y="182"/>
                  </a:lnTo>
                  <a:lnTo>
                    <a:pt x="523" y="174"/>
                  </a:lnTo>
                  <a:lnTo>
                    <a:pt x="497" y="165"/>
                  </a:lnTo>
                  <a:lnTo>
                    <a:pt x="467" y="155"/>
                  </a:lnTo>
                  <a:lnTo>
                    <a:pt x="435" y="143"/>
                  </a:lnTo>
                  <a:lnTo>
                    <a:pt x="402" y="132"/>
                  </a:lnTo>
                  <a:lnTo>
                    <a:pt x="369" y="120"/>
                  </a:lnTo>
                  <a:lnTo>
                    <a:pt x="337" y="108"/>
                  </a:lnTo>
                  <a:lnTo>
                    <a:pt x="305" y="98"/>
                  </a:lnTo>
                  <a:lnTo>
                    <a:pt x="277" y="87"/>
                  </a:lnTo>
                  <a:lnTo>
                    <a:pt x="251" y="78"/>
                  </a:lnTo>
                  <a:lnTo>
                    <a:pt x="230" y="71"/>
                  </a:lnTo>
                  <a:lnTo>
                    <a:pt x="213" y="65"/>
                  </a:lnTo>
                  <a:lnTo>
                    <a:pt x="203" y="60"/>
                  </a:lnTo>
                  <a:lnTo>
                    <a:pt x="198" y="59"/>
                  </a:lnTo>
                  <a:lnTo>
                    <a:pt x="189" y="52"/>
                  </a:lnTo>
                  <a:lnTo>
                    <a:pt x="182" y="42"/>
                  </a:lnTo>
                  <a:lnTo>
                    <a:pt x="179" y="30"/>
                  </a:lnTo>
                  <a:lnTo>
                    <a:pt x="183" y="15"/>
                  </a:lnTo>
                  <a:lnTo>
                    <a:pt x="195" y="3"/>
                  </a:lnTo>
                  <a:lnTo>
                    <a:pt x="210" y="0"/>
                  </a:lnTo>
                  <a:close/>
                </a:path>
              </a:pathLst>
            </a:custGeom>
            <a:solidFill>
              <a:srgbClr val="0F070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33"/>
            <p:cNvSpPr>
              <a:spLocks noEditPoints="1"/>
            </p:cNvSpPr>
            <p:nvPr userDrawn="1"/>
          </p:nvSpPr>
          <p:spPr bwMode="auto">
            <a:xfrm>
              <a:off x="7586099" y="1909747"/>
              <a:ext cx="306991" cy="312971"/>
            </a:xfrm>
            <a:custGeom>
              <a:avLst/>
              <a:gdLst>
                <a:gd name="T0" fmla="*/ 66 w 154"/>
                <a:gd name="T1" fmla="*/ 45 h 157"/>
                <a:gd name="T2" fmla="*/ 63 w 154"/>
                <a:gd name="T3" fmla="*/ 76 h 157"/>
                <a:gd name="T4" fmla="*/ 78 w 154"/>
                <a:gd name="T5" fmla="*/ 76 h 157"/>
                <a:gd name="T6" fmla="*/ 87 w 154"/>
                <a:gd name="T7" fmla="*/ 72 h 157"/>
                <a:gd name="T8" fmla="*/ 93 w 154"/>
                <a:gd name="T9" fmla="*/ 66 h 157"/>
                <a:gd name="T10" fmla="*/ 93 w 154"/>
                <a:gd name="T11" fmla="*/ 57 h 157"/>
                <a:gd name="T12" fmla="*/ 89 w 154"/>
                <a:gd name="T13" fmla="*/ 50 h 157"/>
                <a:gd name="T14" fmla="*/ 80 w 154"/>
                <a:gd name="T15" fmla="*/ 47 h 157"/>
                <a:gd name="T16" fmla="*/ 74 w 154"/>
                <a:gd name="T17" fmla="*/ 35 h 157"/>
                <a:gd name="T18" fmla="*/ 101 w 154"/>
                <a:gd name="T19" fmla="*/ 42 h 157"/>
                <a:gd name="T20" fmla="*/ 107 w 154"/>
                <a:gd name="T21" fmla="*/ 48 h 157"/>
                <a:gd name="T22" fmla="*/ 108 w 154"/>
                <a:gd name="T23" fmla="*/ 60 h 157"/>
                <a:gd name="T24" fmla="*/ 105 w 154"/>
                <a:gd name="T25" fmla="*/ 71 h 157"/>
                <a:gd name="T26" fmla="*/ 96 w 154"/>
                <a:gd name="T27" fmla="*/ 79 h 157"/>
                <a:gd name="T28" fmla="*/ 92 w 154"/>
                <a:gd name="T29" fmla="*/ 82 h 157"/>
                <a:gd name="T30" fmla="*/ 99 w 154"/>
                <a:gd name="T31" fmla="*/ 86 h 157"/>
                <a:gd name="T32" fmla="*/ 104 w 154"/>
                <a:gd name="T33" fmla="*/ 95 h 157"/>
                <a:gd name="T34" fmla="*/ 107 w 154"/>
                <a:gd name="T35" fmla="*/ 110 h 157"/>
                <a:gd name="T36" fmla="*/ 110 w 154"/>
                <a:gd name="T37" fmla="*/ 119 h 157"/>
                <a:gd name="T38" fmla="*/ 111 w 154"/>
                <a:gd name="T39" fmla="*/ 124 h 157"/>
                <a:gd name="T40" fmla="*/ 95 w 154"/>
                <a:gd name="T41" fmla="*/ 121 h 157"/>
                <a:gd name="T42" fmla="*/ 92 w 154"/>
                <a:gd name="T43" fmla="*/ 110 h 157"/>
                <a:gd name="T44" fmla="*/ 89 w 154"/>
                <a:gd name="T45" fmla="*/ 97 h 157"/>
                <a:gd name="T46" fmla="*/ 83 w 154"/>
                <a:gd name="T47" fmla="*/ 89 h 157"/>
                <a:gd name="T48" fmla="*/ 72 w 154"/>
                <a:gd name="T49" fmla="*/ 86 h 157"/>
                <a:gd name="T50" fmla="*/ 63 w 154"/>
                <a:gd name="T51" fmla="*/ 124 h 157"/>
                <a:gd name="T52" fmla="*/ 48 w 154"/>
                <a:gd name="T53" fmla="*/ 38 h 157"/>
                <a:gd name="T54" fmla="*/ 74 w 154"/>
                <a:gd name="T55" fmla="*/ 35 h 157"/>
                <a:gd name="T56" fmla="*/ 57 w 154"/>
                <a:gd name="T57" fmla="*/ 17 h 157"/>
                <a:gd name="T58" fmla="*/ 27 w 154"/>
                <a:gd name="T59" fmla="*/ 39 h 157"/>
                <a:gd name="T60" fmla="*/ 15 w 154"/>
                <a:gd name="T61" fmla="*/ 79 h 157"/>
                <a:gd name="T62" fmla="*/ 27 w 154"/>
                <a:gd name="T63" fmla="*/ 118 h 157"/>
                <a:gd name="T64" fmla="*/ 57 w 154"/>
                <a:gd name="T65" fmla="*/ 142 h 157"/>
                <a:gd name="T66" fmla="*/ 98 w 154"/>
                <a:gd name="T67" fmla="*/ 142 h 157"/>
                <a:gd name="T68" fmla="*/ 128 w 154"/>
                <a:gd name="T69" fmla="*/ 118 h 157"/>
                <a:gd name="T70" fmla="*/ 140 w 154"/>
                <a:gd name="T71" fmla="*/ 79 h 157"/>
                <a:gd name="T72" fmla="*/ 128 w 154"/>
                <a:gd name="T73" fmla="*/ 39 h 157"/>
                <a:gd name="T74" fmla="*/ 98 w 154"/>
                <a:gd name="T75" fmla="*/ 17 h 157"/>
                <a:gd name="T76" fmla="*/ 77 w 154"/>
                <a:gd name="T77" fmla="*/ 12 h 157"/>
                <a:gd name="T78" fmla="*/ 78 w 154"/>
                <a:gd name="T79" fmla="*/ 0 h 157"/>
                <a:gd name="T80" fmla="*/ 123 w 154"/>
                <a:gd name="T81" fmla="*/ 15 h 157"/>
                <a:gd name="T82" fmla="*/ 151 w 154"/>
                <a:gd name="T83" fmla="*/ 54 h 157"/>
                <a:gd name="T84" fmla="*/ 151 w 154"/>
                <a:gd name="T85" fmla="*/ 104 h 157"/>
                <a:gd name="T86" fmla="*/ 123 w 154"/>
                <a:gd name="T87" fmla="*/ 142 h 157"/>
                <a:gd name="T88" fmla="*/ 77 w 154"/>
                <a:gd name="T89" fmla="*/ 157 h 157"/>
                <a:gd name="T90" fmla="*/ 31 w 154"/>
                <a:gd name="T91" fmla="*/ 142 h 157"/>
                <a:gd name="T92" fmla="*/ 4 w 154"/>
                <a:gd name="T93" fmla="*/ 104 h 157"/>
                <a:gd name="T94" fmla="*/ 4 w 154"/>
                <a:gd name="T95" fmla="*/ 54 h 157"/>
                <a:gd name="T96" fmla="*/ 31 w 154"/>
                <a:gd name="T97" fmla="*/ 15 h 157"/>
                <a:gd name="T98" fmla="*/ 77 w 154"/>
                <a:gd name="T9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157">
                  <a:moveTo>
                    <a:pt x="72" y="45"/>
                  </a:moveTo>
                  <a:lnTo>
                    <a:pt x="66" y="45"/>
                  </a:lnTo>
                  <a:lnTo>
                    <a:pt x="63" y="47"/>
                  </a:lnTo>
                  <a:lnTo>
                    <a:pt x="63" y="76"/>
                  </a:lnTo>
                  <a:lnTo>
                    <a:pt x="72" y="76"/>
                  </a:lnTo>
                  <a:lnTo>
                    <a:pt x="78" y="76"/>
                  </a:lnTo>
                  <a:lnTo>
                    <a:pt x="83" y="74"/>
                  </a:lnTo>
                  <a:lnTo>
                    <a:pt x="87" y="72"/>
                  </a:lnTo>
                  <a:lnTo>
                    <a:pt x="90" y="69"/>
                  </a:lnTo>
                  <a:lnTo>
                    <a:pt x="93" y="66"/>
                  </a:lnTo>
                  <a:lnTo>
                    <a:pt x="93" y="60"/>
                  </a:lnTo>
                  <a:lnTo>
                    <a:pt x="93" y="57"/>
                  </a:lnTo>
                  <a:lnTo>
                    <a:pt x="92" y="54"/>
                  </a:lnTo>
                  <a:lnTo>
                    <a:pt x="89" y="50"/>
                  </a:lnTo>
                  <a:lnTo>
                    <a:pt x="86" y="48"/>
                  </a:lnTo>
                  <a:lnTo>
                    <a:pt x="80" y="47"/>
                  </a:lnTo>
                  <a:lnTo>
                    <a:pt x="72" y="45"/>
                  </a:lnTo>
                  <a:close/>
                  <a:moveTo>
                    <a:pt x="74" y="35"/>
                  </a:moveTo>
                  <a:lnTo>
                    <a:pt x="90" y="36"/>
                  </a:lnTo>
                  <a:lnTo>
                    <a:pt x="101" y="42"/>
                  </a:lnTo>
                  <a:lnTo>
                    <a:pt x="104" y="45"/>
                  </a:lnTo>
                  <a:lnTo>
                    <a:pt x="107" y="48"/>
                  </a:lnTo>
                  <a:lnTo>
                    <a:pt x="108" y="54"/>
                  </a:lnTo>
                  <a:lnTo>
                    <a:pt x="108" y="60"/>
                  </a:lnTo>
                  <a:lnTo>
                    <a:pt x="107" y="66"/>
                  </a:lnTo>
                  <a:lnTo>
                    <a:pt x="105" y="71"/>
                  </a:lnTo>
                  <a:lnTo>
                    <a:pt x="101" y="76"/>
                  </a:lnTo>
                  <a:lnTo>
                    <a:pt x="96" y="79"/>
                  </a:lnTo>
                  <a:lnTo>
                    <a:pt x="92" y="82"/>
                  </a:lnTo>
                  <a:lnTo>
                    <a:pt x="92" y="82"/>
                  </a:lnTo>
                  <a:lnTo>
                    <a:pt x="96" y="83"/>
                  </a:lnTo>
                  <a:lnTo>
                    <a:pt x="99" y="86"/>
                  </a:lnTo>
                  <a:lnTo>
                    <a:pt x="102" y="91"/>
                  </a:lnTo>
                  <a:lnTo>
                    <a:pt x="104" y="95"/>
                  </a:lnTo>
                  <a:lnTo>
                    <a:pt x="105" y="103"/>
                  </a:lnTo>
                  <a:lnTo>
                    <a:pt x="107" y="110"/>
                  </a:lnTo>
                  <a:lnTo>
                    <a:pt x="108" y="115"/>
                  </a:lnTo>
                  <a:lnTo>
                    <a:pt x="110" y="119"/>
                  </a:lnTo>
                  <a:lnTo>
                    <a:pt x="110" y="122"/>
                  </a:lnTo>
                  <a:lnTo>
                    <a:pt x="111" y="124"/>
                  </a:lnTo>
                  <a:lnTo>
                    <a:pt x="96" y="124"/>
                  </a:lnTo>
                  <a:lnTo>
                    <a:pt x="95" y="121"/>
                  </a:lnTo>
                  <a:lnTo>
                    <a:pt x="93" y="116"/>
                  </a:lnTo>
                  <a:lnTo>
                    <a:pt x="92" y="110"/>
                  </a:lnTo>
                  <a:lnTo>
                    <a:pt x="92" y="103"/>
                  </a:lnTo>
                  <a:lnTo>
                    <a:pt x="89" y="97"/>
                  </a:lnTo>
                  <a:lnTo>
                    <a:pt x="87" y="92"/>
                  </a:lnTo>
                  <a:lnTo>
                    <a:pt x="83" y="89"/>
                  </a:lnTo>
                  <a:lnTo>
                    <a:pt x="78" y="88"/>
                  </a:lnTo>
                  <a:lnTo>
                    <a:pt x="72" y="86"/>
                  </a:lnTo>
                  <a:lnTo>
                    <a:pt x="63" y="86"/>
                  </a:lnTo>
                  <a:lnTo>
                    <a:pt x="63" y="124"/>
                  </a:lnTo>
                  <a:lnTo>
                    <a:pt x="48" y="124"/>
                  </a:lnTo>
                  <a:lnTo>
                    <a:pt x="48" y="38"/>
                  </a:lnTo>
                  <a:lnTo>
                    <a:pt x="60" y="36"/>
                  </a:lnTo>
                  <a:lnTo>
                    <a:pt x="74" y="35"/>
                  </a:lnTo>
                  <a:close/>
                  <a:moveTo>
                    <a:pt x="77" y="12"/>
                  </a:moveTo>
                  <a:lnTo>
                    <a:pt x="57" y="17"/>
                  </a:lnTo>
                  <a:lnTo>
                    <a:pt x="40" y="26"/>
                  </a:lnTo>
                  <a:lnTo>
                    <a:pt x="27" y="39"/>
                  </a:lnTo>
                  <a:lnTo>
                    <a:pt x="18" y="57"/>
                  </a:lnTo>
                  <a:lnTo>
                    <a:pt x="15" y="79"/>
                  </a:lnTo>
                  <a:lnTo>
                    <a:pt x="18" y="100"/>
                  </a:lnTo>
                  <a:lnTo>
                    <a:pt x="27" y="118"/>
                  </a:lnTo>
                  <a:lnTo>
                    <a:pt x="40" y="133"/>
                  </a:lnTo>
                  <a:lnTo>
                    <a:pt x="57" y="142"/>
                  </a:lnTo>
                  <a:lnTo>
                    <a:pt x="78" y="145"/>
                  </a:lnTo>
                  <a:lnTo>
                    <a:pt x="98" y="142"/>
                  </a:lnTo>
                  <a:lnTo>
                    <a:pt x="114" y="133"/>
                  </a:lnTo>
                  <a:lnTo>
                    <a:pt x="128" y="118"/>
                  </a:lnTo>
                  <a:lnTo>
                    <a:pt x="137" y="100"/>
                  </a:lnTo>
                  <a:lnTo>
                    <a:pt x="140" y="79"/>
                  </a:lnTo>
                  <a:lnTo>
                    <a:pt x="137" y="57"/>
                  </a:lnTo>
                  <a:lnTo>
                    <a:pt x="128" y="39"/>
                  </a:lnTo>
                  <a:lnTo>
                    <a:pt x="114" y="26"/>
                  </a:lnTo>
                  <a:lnTo>
                    <a:pt x="98" y="17"/>
                  </a:lnTo>
                  <a:lnTo>
                    <a:pt x="78" y="12"/>
                  </a:lnTo>
                  <a:lnTo>
                    <a:pt x="77" y="12"/>
                  </a:lnTo>
                  <a:close/>
                  <a:moveTo>
                    <a:pt x="77" y="0"/>
                  </a:moveTo>
                  <a:lnTo>
                    <a:pt x="78" y="0"/>
                  </a:lnTo>
                  <a:lnTo>
                    <a:pt x="102" y="5"/>
                  </a:lnTo>
                  <a:lnTo>
                    <a:pt x="123" y="15"/>
                  </a:lnTo>
                  <a:lnTo>
                    <a:pt x="140" y="33"/>
                  </a:lnTo>
                  <a:lnTo>
                    <a:pt x="151" y="54"/>
                  </a:lnTo>
                  <a:lnTo>
                    <a:pt x="154" y="79"/>
                  </a:lnTo>
                  <a:lnTo>
                    <a:pt x="151" y="104"/>
                  </a:lnTo>
                  <a:lnTo>
                    <a:pt x="140" y="125"/>
                  </a:lnTo>
                  <a:lnTo>
                    <a:pt x="123" y="142"/>
                  </a:lnTo>
                  <a:lnTo>
                    <a:pt x="102" y="154"/>
                  </a:lnTo>
                  <a:lnTo>
                    <a:pt x="77" y="157"/>
                  </a:lnTo>
                  <a:lnTo>
                    <a:pt x="52" y="154"/>
                  </a:lnTo>
                  <a:lnTo>
                    <a:pt x="31" y="142"/>
                  </a:lnTo>
                  <a:lnTo>
                    <a:pt x="15" y="125"/>
                  </a:lnTo>
                  <a:lnTo>
                    <a:pt x="4" y="104"/>
                  </a:lnTo>
                  <a:lnTo>
                    <a:pt x="0" y="79"/>
                  </a:lnTo>
                  <a:lnTo>
                    <a:pt x="4" y="54"/>
                  </a:lnTo>
                  <a:lnTo>
                    <a:pt x="15" y="33"/>
                  </a:lnTo>
                  <a:lnTo>
                    <a:pt x="31" y="15"/>
                  </a:lnTo>
                  <a:lnTo>
                    <a:pt x="52" y="5"/>
                  </a:lnTo>
                  <a:lnTo>
                    <a:pt x="7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1" name="Group 50"/>
          <p:cNvGrpSpPr/>
          <p:nvPr userDrawn="1"/>
        </p:nvGrpSpPr>
        <p:grpSpPr>
          <a:xfrm>
            <a:off x="5643342" y="5868538"/>
            <a:ext cx="959908" cy="316031"/>
            <a:chOff x="2811438" y="723330"/>
            <a:chExt cx="4566368" cy="1503387"/>
          </a:xfrm>
        </p:grpSpPr>
        <p:pic>
          <p:nvPicPr>
            <p:cNvPr id="52" name="Picture 22" descr="Image result for facebook twitter youtube icons grey"/>
            <p:cNvPicPr>
              <a:picLocks noChangeAspect="1" noChangeArrowheads="1"/>
            </p:cNvPicPr>
            <p:nvPr userDrawn="1"/>
          </p:nvPicPr>
          <p:blipFill rotWithShape="1">
            <a:blip r:embed="rId2">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p:blipFill>
          <p:spPr bwMode="auto">
            <a:xfrm>
              <a:off x="2811438" y="723330"/>
              <a:ext cx="3145809" cy="150338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2" descr="Image result for facebook twitter youtube icons grey"/>
            <p:cNvPicPr>
              <a:picLocks noChangeAspect="1" noChangeArrowheads="1"/>
            </p:cNvPicPr>
            <p:nvPr userDrawn="1"/>
          </p:nvPicPr>
          <p:blipFill rotWithShape="1">
            <a:blip r:embed="rId3">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p:blipFill>
          <p:spPr bwMode="auto">
            <a:xfrm>
              <a:off x="5920463" y="723330"/>
              <a:ext cx="1457343" cy="1503387"/>
            </a:xfrm>
            <a:prstGeom prst="rect">
              <a:avLst/>
            </a:prstGeom>
            <a:noFill/>
            <a:extLst>
              <a:ext uri="{909E8E84-426E-40DD-AFC4-6F175D3DCCD1}">
                <a14:hiddenFill xmlns:a14="http://schemas.microsoft.com/office/drawing/2010/main">
                  <a:solidFill>
                    <a:srgbClr val="FFFFFF"/>
                  </a:solidFill>
                </a14:hiddenFill>
              </a:ext>
            </a:extLst>
          </p:spPr>
        </p:pic>
      </p:grpSp>
      <p:sp>
        <p:nvSpPr>
          <p:cNvPr id="83" name="Rectangle 82">
            <a:hlinkClick r:id="rId4"/>
          </p:cNvPr>
          <p:cNvSpPr/>
          <p:nvPr userDrawn="1"/>
        </p:nvSpPr>
        <p:spPr>
          <a:xfrm>
            <a:off x="5622878"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4" name="Rectangle 83">
            <a:hlinkClick r:id="rId5"/>
          </p:cNvPr>
          <p:cNvSpPr/>
          <p:nvPr userDrawn="1"/>
        </p:nvSpPr>
        <p:spPr>
          <a:xfrm>
            <a:off x="5970896"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85" name="Rectangle 84">
            <a:hlinkClick r:id="rId6"/>
          </p:cNvPr>
          <p:cNvSpPr/>
          <p:nvPr userDrawn="1"/>
        </p:nvSpPr>
        <p:spPr>
          <a:xfrm>
            <a:off x="6318914" y="5827594"/>
            <a:ext cx="320722" cy="34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1" name="TextBox 40"/>
          <p:cNvSpPr txBox="1"/>
          <p:nvPr userDrawn="1"/>
        </p:nvSpPr>
        <p:spPr>
          <a:xfrm>
            <a:off x="1846997" y="6230203"/>
            <a:ext cx="8498006" cy="447815"/>
          </a:xfrm>
          <a:prstGeom prst="rect">
            <a:avLst/>
          </a:prstGeom>
          <a:noFill/>
          <a:ln>
            <a:noFill/>
          </a:ln>
        </p:spPr>
        <p:txBody>
          <a:bodyPr wrap="square" lIns="137160" tIns="91440" rIns="0" bIns="91440" rtlCol="0">
            <a:spAutoFit/>
          </a:bodyPr>
          <a:lstStyle/>
          <a:p>
            <a:pPr algn="ctr">
              <a:lnSpc>
                <a:spcPct val="95000"/>
              </a:lnSpc>
              <a:spcBef>
                <a:spcPts val="1200"/>
              </a:spcBef>
            </a:pPr>
            <a:r>
              <a:rPr lang="en-US" sz="900" smtClean="0">
                <a:solidFill>
                  <a:schemeClr val="bg1"/>
                </a:solidFill>
              </a:rPr>
              <a:t>©2019 </a:t>
            </a:r>
            <a:r>
              <a:rPr lang="en-US" sz="900" dirty="0">
                <a:solidFill>
                  <a:schemeClr val="bg1"/>
                </a:solidFill>
              </a:rPr>
              <a:t>Austin Energy. All rights reserved. Austin Energy and the Austin Energy logo and combinations thereof are trademarks of Austin Energy, the electric department of the City of Austin, Texas. Other names are for informational purposes only and may be trademarks of their respective owners.</a:t>
            </a:r>
          </a:p>
        </p:txBody>
      </p:sp>
    </p:spTree>
    <p:extLst>
      <p:ext uri="{BB962C8B-B14F-4D97-AF65-F5344CB8AC3E}">
        <p14:creationId xmlns:p14="http://schemas.microsoft.com/office/powerpoint/2010/main" val="32880176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Bullet Content - No Orange">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599401" y="1481142"/>
            <a:ext cx="10991850" cy="4156075"/>
          </a:xfrm>
        </p:spPr>
        <p:txBody>
          <a:bodyPr>
            <a:noAutofit/>
          </a:bodyPr>
          <a:lstStyle>
            <a:lvl1pPr>
              <a:buClr>
                <a:schemeClr val="accent1"/>
              </a:buClr>
              <a:defRPr>
                <a:solidFill>
                  <a:schemeClr val="tx1"/>
                </a:solidFill>
              </a:defRPr>
            </a:lvl1pPr>
            <a:lvl2pPr marL="338328" indent="-174625">
              <a:buClr>
                <a:schemeClr val="accent1"/>
              </a:buClr>
              <a:buFont typeface="Arial" panose="020B0604020202020204" pitchFamily="34" charset="0"/>
              <a:buChar char="•"/>
              <a:defRPr/>
            </a:lvl2pPr>
            <a:lvl3pPr marL="509588" indent="-161925">
              <a:buClr>
                <a:schemeClr val="accent1"/>
              </a:buClr>
              <a:buFont typeface="Arial" panose="020B0604020202020204" pitchFamily="34" charset="0"/>
              <a:buChar char="•"/>
              <a:defRPr/>
            </a:lvl3pPr>
            <a:lvl4pPr marL="685800" indent="-173736">
              <a:buClr>
                <a:schemeClr val="accent1"/>
              </a:buClr>
              <a:buFont typeface="Arial" panose="020B0604020202020204" pitchFamily="34" charset="0"/>
              <a:buChar char="•"/>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7533561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Bullet Content">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26947" y="1610796"/>
            <a:ext cx="5009829" cy="4156075"/>
          </a:xfrm>
        </p:spPr>
        <p:txBody>
          <a:bodyPr>
            <a:noAutofit/>
          </a:bodyPr>
          <a:lstStyle>
            <a:lvl2pPr marL="338328" indent="-174625">
              <a:buFont typeface="Arial" panose="020B0604020202020204" pitchFamily="34" charset="0"/>
              <a:buChar char="•"/>
              <a:defRPr/>
            </a:lvl2pPr>
            <a:lvl3pPr marL="509588" indent="-161925">
              <a:buFont typeface="Arial" panose="020B0604020202020204" pitchFamily="34" charset="0"/>
              <a:buChar char="•"/>
              <a:defRPr/>
            </a:lvl3pPr>
            <a:lvl4pPr marL="685800" indent="-173736">
              <a:buFont typeface="Arial" panose="020B0604020202020204" pitchFamily="34" charset="0"/>
              <a:buChar char="•"/>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5" name="Text Placeholder 7"/>
          <p:cNvSpPr>
            <a:spLocks noGrp="1"/>
          </p:cNvSpPr>
          <p:nvPr>
            <p:ph type="body" sz="quarter" idx="11"/>
          </p:nvPr>
        </p:nvSpPr>
        <p:spPr>
          <a:xfrm>
            <a:off x="6235926" y="1610796"/>
            <a:ext cx="5009829" cy="4156075"/>
          </a:xfrm>
        </p:spPr>
        <p:txBody>
          <a:bodyPr>
            <a:noAutofit/>
          </a:bodyPr>
          <a:lstStyle>
            <a:lvl2pPr marL="338328" indent="-174625">
              <a:buFont typeface="Arial" panose="020B0604020202020204" pitchFamily="34" charset="0"/>
              <a:buChar char="•"/>
              <a:defRPr/>
            </a:lvl2pPr>
            <a:lvl3pPr marL="509588" indent="-161925">
              <a:buFont typeface="Arial" panose="020B0604020202020204" pitchFamily="34" charset="0"/>
              <a:buChar char="•"/>
              <a:defRPr/>
            </a:lvl3pPr>
            <a:lvl4pPr marL="685800" indent="-173736">
              <a:buFont typeface="Arial" panose="020B0604020202020204" pitchFamily="34" charset="0"/>
              <a:buChar char="•"/>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270179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Subtitle + Content">
    <p:spTree>
      <p:nvGrpSpPr>
        <p:cNvPr id="1" name=""/>
        <p:cNvGrpSpPr/>
        <p:nvPr/>
      </p:nvGrpSpPr>
      <p:grpSpPr>
        <a:xfrm>
          <a:off x="0" y="0"/>
          <a:ext cx="0" cy="0"/>
          <a:chOff x="0" y="0"/>
          <a:chExt cx="0" cy="0"/>
        </a:xfrm>
      </p:grpSpPr>
      <p:sp>
        <p:nvSpPr>
          <p:cNvPr id="2" name="Title 1"/>
          <p:cNvSpPr>
            <a:spLocks noGrp="1"/>
          </p:cNvSpPr>
          <p:nvPr>
            <p:ph type="title"/>
          </p:nvPr>
        </p:nvSpPr>
        <p:spPr>
          <a:xfrm>
            <a:off x="599400" y="432274"/>
            <a:ext cx="10993200" cy="475302"/>
          </a:xfrm>
        </p:spPr>
        <p:txBody>
          <a:bodyPr/>
          <a:lstStyle>
            <a:lvl1pPr>
              <a:defRPr sz="3800">
                <a:solidFill>
                  <a:schemeClr val="tx1">
                    <a:lumMod val="85000"/>
                    <a:lumOff val="15000"/>
                  </a:schemeClr>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600075" y="941245"/>
            <a:ext cx="10991850" cy="498475"/>
          </a:xfrm>
        </p:spPr>
        <p:txBody>
          <a:bodyPr/>
          <a:lstStyle>
            <a:lvl1pPr marL="0" indent="0" algn="ctr">
              <a:buFontTx/>
              <a:buNone/>
              <a:defRPr sz="2400"/>
            </a:lvl1pPr>
            <a:lvl2pPr marL="163703" indent="0">
              <a:buFontTx/>
              <a:buNone/>
              <a:defRPr/>
            </a:lvl2pPr>
            <a:lvl3pPr marL="347663" indent="0">
              <a:buFontTx/>
              <a:buNone/>
              <a:defRPr/>
            </a:lvl3pPr>
            <a:lvl4pPr marL="512064" indent="0">
              <a:buFontTx/>
              <a:buNone/>
              <a:defRPr/>
            </a:lvl4pPr>
            <a:lvl5pPr>
              <a:buFontTx/>
              <a:buNone/>
              <a:defRPr/>
            </a:lvl5pPr>
          </a:lstStyle>
          <a:p>
            <a:pPr lvl="0"/>
            <a:r>
              <a:rPr lang="en-US" dirty="0"/>
              <a:t>Click to edit Subtitle here</a:t>
            </a:r>
          </a:p>
        </p:txBody>
      </p:sp>
    </p:spTree>
    <p:extLst>
      <p:ext uri="{BB962C8B-B14F-4D97-AF65-F5344CB8AC3E}">
        <p14:creationId xmlns:p14="http://schemas.microsoft.com/office/powerpoint/2010/main" val="551491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3" name="Rectangle 2"/>
          <p:cNvSpPr/>
          <p:nvPr userDrawn="1"/>
        </p:nvSpPr>
        <p:spPr>
          <a:xfrm>
            <a:off x="0" y="0"/>
            <a:ext cx="12192000" cy="946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Tree>
    <p:extLst>
      <p:ext uri="{BB962C8B-B14F-4D97-AF65-F5344CB8AC3E}">
        <p14:creationId xmlns:p14="http://schemas.microsoft.com/office/powerpoint/2010/main" val="223152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grpSp>
        <p:nvGrpSpPr>
          <p:cNvPr id="39" name="Group 38"/>
          <p:cNvGrpSpPr/>
          <p:nvPr userDrawn="1"/>
        </p:nvGrpSpPr>
        <p:grpSpPr>
          <a:xfrm>
            <a:off x="1" y="1"/>
            <a:ext cx="12192000" cy="3705308"/>
            <a:chOff x="1" y="0"/>
            <a:chExt cx="12192000" cy="2631883"/>
          </a:xfrm>
        </p:grpSpPr>
        <p:sp>
          <p:nvSpPr>
            <p:cNvPr id="40" name="Shape 516"/>
            <p:cNvSpPr/>
            <p:nvPr/>
          </p:nvSpPr>
          <p:spPr>
            <a:xfrm>
              <a:off x="1" y="1"/>
              <a:ext cx="12192000" cy="2631882"/>
            </a:xfrm>
            <a:custGeom>
              <a:avLst/>
              <a:gdLst/>
              <a:ahLst/>
              <a:cxnLst/>
              <a:rect l="0" t="0" r="0" b="0"/>
              <a:pathLst>
                <a:path w="120000" h="120000" extrusionOk="0">
                  <a:moveTo>
                    <a:pt x="0" y="0"/>
                  </a:moveTo>
                  <a:lnTo>
                    <a:pt x="120000" y="0"/>
                  </a:lnTo>
                  <a:lnTo>
                    <a:pt x="120000" y="88902"/>
                  </a:lnTo>
                  <a:lnTo>
                    <a:pt x="71600" y="115370"/>
                  </a:lnTo>
                  <a:cubicBezTo>
                    <a:pt x="60294" y="121936"/>
                    <a:pt x="59938" y="121301"/>
                    <a:pt x="48233" y="114834"/>
                  </a:cubicBezTo>
                  <a:lnTo>
                    <a:pt x="0" y="88902"/>
                  </a:lnTo>
                  <a:close/>
                </a:path>
              </a:pathLst>
            </a:cu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5400000" scaled="1"/>
              <a:tileRect/>
            </a:gradFill>
            <a:ln>
              <a:noFill/>
            </a:ln>
          </p:spPr>
          <p:txBody>
            <a:bodyPr wrap="square" lIns="91425" tIns="45700" rIns="91425" bIns="45700" anchor="ctr" anchorCtr="0">
              <a:noAutofit/>
            </a:bodyPr>
            <a:lstStyle/>
            <a:p>
              <a:pPr marL="0" marR="0" lvl="0" indent="0" algn="ctr" rtl="0">
                <a:spcBef>
                  <a:spcPts val="0"/>
                </a:spcBef>
                <a:buNone/>
              </a:pPr>
              <a:endParaRPr sz="2700">
                <a:solidFill>
                  <a:schemeClr val="lt1"/>
                </a:solidFill>
                <a:latin typeface="Nunito Light"/>
                <a:ea typeface="Nunito Light"/>
                <a:cs typeface="Nunito Light"/>
                <a:sym typeface="Nunito Light"/>
              </a:endParaRPr>
            </a:p>
          </p:txBody>
        </p:sp>
        <p:sp>
          <p:nvSpPr>
            <p:cNvPr id="41" name="Shape 377"/>
            <p:cNvSpPr/>
            <p:nvPr/>
          </p:nvSpPr>
          <p:spPr>
            <a:xfrm>
              <a:off x="4634820" y="0"/>
              <a:ext cx="2922361" cy="194505"/>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0" scaled="1"/>
              <a:tileRect/>
            </a:gradFill>
            <a:ln>
              <a:noFill/>
            </a:ln>
            <a:effectLst/>
          </p:spPr>
          <p:txBody>
            <a:bodyPr wrap="square" lIns="91425" tIns="45700" rIns="91425" bIns="45700" anchor="ctr" anchorCtr="0">
              <a:noAutofit/>
            </a:bodyPr>
            <a:lstStyle/>
            <a:p>
              <a:pPr marR="0" lvl="0" indent="0" algn="ctr">
                <a:spcBef>
                  <a:spcPts val="0"/>
                </a:spcBef>
                <a:buNone/>
              </a:pPr>
              <a:endParaRPr sz="2700">
                <a:solidFill>
                  <a:schemeClr val="lt1"/>
                </a:solidFill>
                <a:latin typeface="Nunito Light"/>
                <a:ea typeface="Nunito Light"/>
                <a:cs typeface="Nunito Light"/>
                <a:sym typeface="Nunito Light"/>
              </a:endParaRPr>
            </a:p>
          </p:txBody>
        </p:sp>
      </p:grpSp>
      <p:sp>
        <p:nvSpPr>
          <p:cNvPr id="42" name="Title 1"/>
          <p:cNvSpPr>
            <a:spLocks noGrp="1"/>
          </p:cNvSpPr>
          <p:nvPr>
            <p:ph type="title" hasCustomPrompt="1"/>
          </p:nvPr>
        </p:nvSpPr>
        <p:spPr>
          <a:xfrm>
            <a:off x="599401" y="767493"/>
            <a:ext cx="10993200" cy="1026845"/>
          </a:xfrm>
        </p:spPr>
        <p:txBody>
          <a:bodyPr anchor="b"/>
          <a:lstStyle>
            <a:lvl1pPr>
              <a:defRPr sz="4400" baseline="0">
                <a:solidFill>
                  <a:schemeClr val="bg1"/>
                </a:solidFill>
              </a:defRPr>
            </a:lvl1pPr>
          </a:lstStyle>
          <a:p>
            <a:r>
              <a:rPr lang="en-US" dirty="0"/>
              <a:t>Transition Title</a:t>
            </a:r>
            <a:br>
              <a:rPr lang="en-US" dirty="0"/>
            </a:br>
            <a:r>
              <a:rPr lang="en-US" dirty="0"/>
              <a:t>Line Two Transition Title</a:t>
            </a:r>
          </a:p>
        </p:txBody>
      </p:sp>
      <p:sp>
        <p:nvSpPr>
          <p:cNvPr id="48" name="Text Placeholder 47"/>
          <p:cNvSpPr>
            <a:spLocks noGrp="1"/>
          </p:cNvSpPr>
          <p:nvPr>
            <p:ph type="body" sz="quarter" idx="10" hasCustomPrompt="1"/>
          </p:nvPr>
        </p:nvSpPr>
        <p:spPr>
          <a:xfrm>
            <a:off x="600075" y="1947863"/>
            <a:ext cx="10991850" cy="850900"/>
          </a:xfrm>
        </p:spPr>
        <p:txBody>
          <a:bodyPr/>
          <a:lstStyle>
            <a:lvl1pPr marL="0" indent="0" algn="ctr">
              <a:buFontTx/>
              <a:buNone/>
              <a:defRPr baseline="0">
                <a:solidFill>
                  <a:schemeClr val="bg1"/>
                </a:solidFill>
              </a:defRPr>
            </a:lvl1pPr>
            <a:lvl2pPr marL="163703" indent="0" algn="ctr">
              <a:buFontTx/>
              <a:buNone/>
              <a:defRPr>
                <a:solidFill>
                  <a:schemeClr val="bg1"/>
                </a:solidFill>
              </a:defRPr>
            </a:lvl2pPr>
            <a:lvl3pPr marL="347663" indent="0" algn="ctr">
              <a:buFontTx/>
              <a:buNone/>
              <a:defRPr>
                <a:solidFill>
                  <a:schemeClr val="bg1"/>
                </a:solidFill>
              </a:defRPr>
            </a:lvl3pPr>
            <a:lvl4pPr marL="512064" indent="0" algn="ctr">
              <a:buFontTx/>
              <a:buNone/>
              <a:defRPr>
                <a:solidFill>
                  <a:schemeClr val="bg1"/>
                </a:solidFill>
              </a:defRPr>
            </a:lvl4pPr>
            <a:lvl5pPr marL="0" indent="0" algn="ctr">
              <a:buFontTx/>
              <a:buNone/>
              <a:defRPr>
                <a:solidFill>
                  <a:schemeClr val="bg1"/>
                </a:solidFill>
              </a:defRPr>
            </a:lvl5pPr>
          </a:lstStyle>
          <a:p>
            <a:pPr lvl="0"/>
            <a:r>
              <a:rPr lang="en-US" dirty="0"/>
              <a:t>Subtitle goes here</a:t>
            </a:r>
          </a:p>
        </p:txBody>
      </p:sp>
      <p:sp>
        <p:nvSpPr>
          <p:cNvPr id="9" name="Text Placeholder 7"/>
          <p:cNvSpPr>
            <a:spLocks noGrp="1"/>
          </p:cNvSpPr>
          <p:nvPr>
            <p:ph type="body" sz="quarter" idx="11" hasCustomPrompt="1"/>
          </p:nvPr>
        </p:nvSpPr>
        <p:spPr bwMode="gray">
          <a:xfrm>
            <a:off x="2936511" y="4614523"/>
            <a:ext cx="6294824" cy="511205"/>
          </a:xfrm>
        </p:spPr>
        <p:txBody>
          <a:bodyPr>
            <a:noAutofit/>
          </a:bodyPr>
          <a:lstStyle>
            <a:lvl1pPr marL="0" indent="0" algn="ctr">
              <a:spcBef>
                <a:spcPts val="0"/>
              </a:spcBef>
              <a:spcAft>
                <a:spcPts val="600"/>
              </a:spcAft>
              <a:buFont typeface="Microsoft Sans Serif" panose="020B0604020202020204" pitchFamily="34" charset="0"/>
              <a:buChar char="​"/>
              <a:defRPr sz="2800" b="0" spc="0" baseline="0">
                <a:solidFill>
                  <a:schemeClr val="tx1">
                    <a:lumMod val="85000"/>
                    <a:lumOff val="15000"/>
                  </a:schemeClr>
                </a:solidFill>
                <a:latin typeface="Calibri" panose="020F0502020204030204" pitchFamily="34" charset="0"/>
                <a:cs typeface="Calibri" panose="020F0502020204030204" pitchFamily="34" charset="0"/>
              </a:defRPr>
            </a:lvl1pPr>
            <a:lvl2pPr marL="0" indent="0" algn="ctr">
              <a:lnSpc>
                <a:spcPct val="98000"/>
              </a:lnSpc>
              <a:spcBef>
                <a:spcPts val="0"/>
              </a:spcBef>
              <a:buFont typeface="Microsoft Sans Serif" panose="020B0604020202020204" pitchFamily="34" charset="0"/>
              <a:buNone/>
              <a:defRPr sz="22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endParaRPr lang="en-US" dirty="0"/>
          </a:p>
        </p:txBody>
      </p:sp>
      <p:sp>
        <p:nvSpPr>
          <p:cNvPr id="10" name="Text Placeholder 7"/>
          <p:cNvSpPr>
            <a:spLocks noGrp="1"/>
          </p:cNvSpPr>
          <p:nvPr>
            <p:ph type="body" sz="quarter" idx="16" hasCustomPrompt="1"/>
          </p:nvPr>
        </p:nvSpPr>
        <p:spPr bwMode="gray">
          <a:xfrm>
            <a:off x="2936511" y="5125923"/>
            <a:ext cx="6294824" cy="445532"/>
          </a:xfrm>
        </p:spPr>
        <p:txBody>
          <a:bodyPr>
            <a:noAutofit/>
          </a:bodyPr>
          <a:lstStyle>
            <a:lvl1pPr marL="0" indent="0" algn="ctr">
              <a:spcBef>
                <a:spcPts val="0"/>
              </a:spcBef>
              <a:spcAft>
                <a:spcPts val="600"/>
              </a:spcAft>
              <a:buFont typeface="Microsoft Sans Serif" panose="020B0604020202020204" pitchFamily="34" charset="0"/>
              <a:buChar char="​"/>
              <a:defRPr sz="2400" b="0" spc="0" baseline="0">
                <a:solidFill>
                  <a:schemeClr val="tx1">
                    <a:lumMod val="85000"/>
                    <a:lumOff val="15000"/>
                  </a:schemeClr>
                </a:solidFill>
                <a:latin typeface="Calibri" panose="020F0502020204030204" pitchFamily="34" charset="0"/>
                <a:cs typeface="Calibri" panose="020F0502020204030204" pitchFamily="34" charset="0"/>
              </a:defRPr>
            </a:lvl1pPr>
            <a:lvl2pPr marL="0" indent="0" algn="ctr">
              <a:lnSpc>
                <a:spcPct val="98000"/>
              </a:lnSpc>
              <a:spcBef>
                <a:spcPts val="0"/>
              </a:spcBef>
              <a:buFont typeface="Microsoft Sans Serif" panose="020B0604020202020204" pitchFamily="34" charset="0"/>
              <a:buNone/>
              <a:defRPr sz="1800">
                <a:solidFill>
                  <a:schemeClr val="tx1">
                    <a:lumMod val="85000"/>
                    <a:lumOff val="15000"/>
                  </a:schemeClr>
                </a:solidFill>
                <a:latin typeface="Calibri" panose="020F0502020204030204" pitchFamily="34" charset="0"/>
                <a:cs typeface="Calibri" panose="020F0502020204030204" pitchFamily="34" charset="0"/>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title</a:t>
            </a:r>
          </a:p>
          <a:p>
            <a:pPr lvl="1"/>
            <a:endParaRPr lang="en-US" dirty="0"/>
          </a:p>
        </p:txBody>
      </p:sp>
    </p:spTree>
    <p:extLst>
      <p:ext uri="{BB962C8B-B14F-4D97-AF65-F5344CB8AC3E}">
        <p14:creationId xmlns:p14="http://schemas.microsoft.com/office/powerpoint/2010/main" val="12812953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9400" y="432274"/>
            <a:ext cx="10993200" cy="952974"/>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6" name="TextBox 5"/>
          <p:cNvSpPr txBox="1"/>
          <p:nvPr/>
        </p:nvSpPr>
        <p:spPr>
          <a:xfrm>
            <a:off x="10831347" y="6449921"/>
            <a:ext cx="713422" cy="230832"/>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12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1200" kern="1200" dirty="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599401" y="1481142"/>
            <a:ext cx="10993200" cy="417908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grpSp>
        <p:nvGrpSpPr>
          <p:cNvPr id="5" name="Group 4"/>
          <p:cNvGrpSpPr/>
          <p:nvPr/>
        </p:nvGrpSpPr>
        <p:grpSpPr>
          <a:xfrm>
            <a:off x="651760" y="6127845"/>
            <a:ext cx="880164" cy="507267"/>
            <a:chOff x="1768475" y="3789363"/>
            <a:chExt cx="3098800" cy="1785938"/>
          </a:xfrm>
        </p:grpSpPr>
        <p:sp>
          <p:nvSpPr>
            <p:cNvPr id="7" name="Freeform 6"/>
            <p:cNvSpPr>
              <a:spLocks/>
            </p:cNvSpPr>
            <p:nvPr/>
          </p:nvSpPr>
          <p:spPr bwMode="auto">
            <a:xfrm>
              <a:off x="1787525" y="3803650"/>
              <a:ext cx="3063875" cy="1755775"/>
            </a:xfrm>
            <a:custGeom>
              <a:avLst/>
              <a:gdLst>
                <a:gd name="T0" fmla="*/ 586 w 1930"/>
                <a:gd name="T1" fmla="*/ 0 h 1106"/>
                <a:gd name="T2" fmla="*/ 1088 w 1930"/>
                <a:gd name="T3" fmla="*/ 155 h 1106"/>
                <a:gd name="T4" fmla="*/ 1285 w 1930"/>
                <a:gd name="T5" fmla="*/ 173 h 1106"/>
                <a:gd name="T6" fmla="*/ 1463 w 1930"/>
                <a:gd name="T7" fmla="*/ 205 h 1106"/>
                <a:gd name="T8" fmla="*/ 1618 w 1930"/>
                <a:gd name="T9" fmla="*/ 251 h 1106"/>
                <a:gd name="T10" fmla="*/ 1749 w 1930"/>
                <a:gd name="T11" fmla="*/ 307 h 1106"/>
                <a:gd name="T12" fmla="*/ 1846 w 1930"/>
                <a:gd name="T13" fmla="*/ 371 h 1106"/>
                <a:gd name="T14" fmla="*/ 1909 w 1930"/>
                <a:gd name="T15" fmla="*/ 445 h 1106"/>
                <a:gd name="T16" fmla="*/ 1930 w 1930"/>
                <a:gd name="T17" fmla="*/ 523 h 1106"/>
                <a:gd name="T18" fmla="*/ 1911 w 1930"/>
                <a:gd name="T19" fmla="*/ 599 h 1106"/>
                <a:gd name="T20" fmla="*/ 1854 w 1930"/>
                <a:gd name="T21" fmla="*/ 668 h 1106"/>
                <a:gd name="T22" fmla="*/ 1764 w 1930"/>
                <a:gd name="T23" fmla="*/ 730 h 1106"/>
                <a:gd name="T24" fmla="*/ 1645 w 1930"/>
                <a:gd name="T25" fmla="*/ 786 h 1106"/>
                <a:gd name="T26" fmla="*/ 1501 w 1930"/>
                <a:gd name="T27" fmla="*/ 831 h 1106"/>
                <a:gd name="T28" fmla="*/ 1486 w 1930"/>
                <a:gd name="T29" fmla="*/ 879 h 1106"/>
                <a:gd name="T30" fmla="*/ 1324 w 1930"/>
                <a:gd name="T31" fmla="*/ 907 h 1106"/>
                <a:gd name="T32" fmla="*/ 1650 w 1930"/>
                <a:gd name="T33" fmla="*/ 1070 h 1106"/>
                <a:gd name="T34" fmla="*/ 1656 w 1930"/>
                <a:gd name="T35" fmla="*/ 1080 h 1106"/>
                <a:gd name="T36" fmla="*/ 1655 w 1930"/>
                <a:gd name="T37" fmla="*/ 1093 h 1106"/>
                <a:gd name="T38" fmla="*/ 1646 w 1930"/>
                <a:gd name="T39" fmla="*/ 1103 h 1106"/>
                <a:gd name="T40" fmla="*/ 1635 w 1930"/>
                <a:gd name="T41" fmla="*/ 1106 h 1106"/>
                <a:gd name="T42" fmla="*/ 898 w 1930"/>
                <a:gd name="T43" fmla="*/ 894 h 1106"/>
                <a:gd name="T44" fmla="*/ 703 w 1930"/>
                <a:gd name="T45" fmla="*/ 880 h 1106"/>
                <a:gd name="T46" fmla="*/ 525 w 1930"/>
                <a:gd name="T47" fmla="*/ 852 h 1106"/>
                <a:gd name="T48" fmla="*/ 365 w 1930"/>
                <a:gd name="T49" fmla="*/ 813 h 1106"/>
                <a:gd name="T50" fmla="*/ 229 w 1930"/>
                <a:gd name="T51" fmla="*/ 763 h 1106"/>
                <a:gd name="T52" fmla="*/ 120 w 1930"/>
                <a:gd name="T53" fmla="*/ 704 h 1106"/>
                <a:gd name="T54" fmla="*/ 44 w 1930"/>
                <a:gd name="T55" fmla="*/ 636 h 1106"/>
                <a:gd name="T56" fmla="*/ 5 w 1930"/>
                <a:gd name="T57" fmla="*/ 562 h 1106"/>
                <a:gd name="T58" fmla="*/ 5 w 1930"/>
                <a:gd name="T59" fmla="*/ 485 h 1106"/>
                <a:gd name="T60" fmla="*/ 43 w 1930"/>
                <a:gd name="T61" fmla="*/ 412 h 1106"/>
                <a:gd name="T62" fmla="*/ 116 w 1930"/>
                <a:gd name="T63" fmla="*/ 346 h 1106"/>
                <a:gd name="T64" fmla="*/ 220 w 1930"/>
                <a:gd name="T65" fmla="*/ 287 h 1106"/>
                <a:gd name="T66" fmla="*/ 352 w 1930"/>
                <a:gd name="T67" fmla="*/ 238 h 1106"/>
                <a:gd name="T68" fmla="*/ 352 w 1930"/>
                <a:gd name="T69" fmla="*/ 192 h 1106"/>
                <a:gd name="T70" fmla="*/ 507 w 1930"/>
                <a:gd name="T71" fmla="*/ 157 h 1106"/>
                <a:gd name="T72" fmla="*/ 165 w 1930"/>
                <a:gd name="T73" fmla="*/ 33 h 1106"/>
                <a:gd name="T74" fmla="*/ 160 w 1930"/>
                <a:gd name="T75" fmla="*/ 25 h 1106"/>
                <a:gd name="T76" fmla="*/ 160 w 1930"/>
                <a:gd name="T77" fmla="*/ 14 h 1106"/>
                <a:gd name="T78" fmla="*/ 167 w 1930"/>
                <a:gd name="T79" fmla="*/ 4 h 1106"/>
                <a:gd name="T80" fmla="*/ 177 w 1930"/>
                <a:gd name="T81" fmla="*/ 0 h 1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30" h="1106">
                  <a:moveTo>
                    <a:pt x="177" y="0"/>
                  </a:moveTo>
                  <a:lnTo>
                    <a:pt x="586" y="0"/>
                  </a:lnTo>
                  <a:lnTo>
                    <a:pt x="593" y="2"/>
                  </a:lnTo>
                  <a:lnTo>
                    <a:pt x="1088" y="155"/>
                  </a:lnTo>
                  <a:lnTo>
                    <a:pt x="1187" y="162"/>
                  </a:lnTo>
                  <a:lnTo>
                    <a:pt x="1285" y="173"/>
                  </a:lnTo>
                  <a:lnTo>
                    <a:pt x="1376" y="188"/>
                  </a:lnTo>
                  <a:lnTo>
                    <a:pt x="1463" y="205"/>
                  </a:lnTo>
                  <a:lnTo>
                    <a:pt x="1544" y="226"/>
                  </a:lnTo>
                  <a:lnTo>
                    <a:pt x="1618" y="251"/>
                  </a:lnTo>
                  <a:lnTo>
                    <a:pt x="1688" y="277"/>
                  </a:lnTo>
                  <a:lnTo>
                    <a:pt x="1749" y="307"/>
                  </a:lnTo>
                  <a:lnTo>
                    <a:pt x="1802" y="338"/>
                  </a:lnTo>
                  <a:lnTo>
                    <a:pt x="1846" y="371"/>
                  </a:lnTo>
                  <a:lnTo>
                    <a:pt x="1883" y="407"/>
                  </a:lnTo>
                  <a:lnTo>
                    <a:pt x="1909" y="445"/>
                  </a:lnTo>
                  <a:lnTo>
                    <a:pt x="1925" y="483"/>
                  </a:lnTo>
                  <a:lnTo>
                    <a:pt x="1930" y="523"/>
                  </a:lnTo>
                  <a:lnTo>
                    <a:pt x="1925" y="561"/>
                  </a:lnTo>
                  <a:lnTo>
                    <a:pt x="1911" y="599"/>
                  </a:lnTo>
                  <a:lnTo>
                    <a:pt x="1887" y="633"/>
                  </a:lnTo>
                  <a:lnTo>
                    <a:pt x="1854" y="668"/>
                  </a:lnTo>
                  <a:lnTo>
                    <a:pt x="1813" y="701"/>
                  </a:lnTo>
                  <a:lnTo>
                    <a:pt x="1764" y="730"/>
                  </a:lnTo>
                  <a:lnTo>
                    <a:pt x="1707" y="760"/>
                  </a:lnTo>
                  <a:lnTo>
                    <a:pt x="1645" y="786"/>
                  </a:lnTo>
                  <a:lnTo>
                    <a:pt x="1575" y="810"/>
                  </a:lnTo>
                  <a:lnTo>
                    <a:pt x="1501" y="831"/>
                  </a:lnTo>
                  <a:lnTo>
                    <a:pt x="1560" y="861"/>
                  </a:lnTo>
                  <a:lnTo>
                    <a:pt x="1486" y="879"/>
                  </a:lnTo>
                  <a:lnTo>
                    <a:pt x="1407" y="895"/>
                  </a:lnTo>
                  <a:lnTo>
                    <a:pt x="1324" y="907"/>
                  </a:lnTo>
                  <a:lnTo>
                    <a:pt x="1645" y="1067"/>
                  </a:lnTo>
                  <a:lnTo>
                    <a:pt x="1650" y="1070"/>
                  </a:lnTo>
                  <a:lnTo>
                    <a:pt x="1653" y="1075"/>
                  </a:lnTo>
                  <a:lnTo>
                    <a:pt x="1656" y="1080"/>
                  </a:lnTo>
                  <a:lnTo>
                    <a:pt x="1656" y="1086"/>
                  </a:lnTo>
                  <a:lnTo>
                    <a:pt x="1655" y="1093"/>
                  </a:lnTo>
                  <a:lnTo>
                    <a:pt x="1651" y="1098"/>
                  </a:lnTo>
                  <a:lnTo>
                    <a:pt x="1646" y="1103"/>
                  </a:lnTo>
                  <a:lnTo>
                    <a:pt x="1641" y="1106"/>
                  </a:lnTo>
                  <a:lnTo>
                    <a:pt x="1635" y="1106"/>
                  </a:lnTo>
                  <a:lnTo>
                    <a:pt x="1628" y="1106"/>
                  </a:lnTo>
                  <a:lnTo>
                    <a:pt x="898" y="894"/>
                  </a:lnTo>
                  <a:lnTo>
                    <a:pt x="799" y="889"/>
                  </a:lnTo>
                  <a:lnTo>
                    <a:pt x="703" y="880"/>
                  </a:lnTo>
                  <a:lnTo>
                    <a:pt x="613" y="869"/>
                  </a:lnTo>
                  <a:lnTo>
                    <a:pt x="525" y="852"/>
                  </a:lnTo>
                  <a:lnTo>
                    <a:pt x="442" y="834"/>
                  </a:lnTo>
                  <a:lnTo>
                    <a:pt x="365" y="813"/>
                  </a:lnTo>
                  <a:lnTo>
                    <a:pt x="294" y="790"/>
                  </a:lnTo>
                  <a:lnTo>
                    <a:pt x="229" y="763"/>
                  </a:lnTo>
                  <a:lnTo>
                    <a:pt x="172" y="734"/>
                  </a:lnTo>
                  <a:lnTo>
                    <a:pt x="120" y="704"/>
                  </a:lnTo>
                  <a:lnTo>
                    <a:pt x="79" y="671"/>
                  </a:lnTo>
                  <a:lnTo>
                    <a:pt x="44" y="636"/>
                  </a:lnTo>
                  <a:lnTo>
                    <a:pt x="20" y="600"/>
                  </a:lnTo>
                  <a:lnTo>
                    <a:pt x="5" y="562"/>
                  </a:lnTo>
                  <a:lnTo>
                    <a:pt x="0" y="523"/>
                  </a:lnTo>
                  <a:lnTo>
                    <a:pt x="5" y="485"/>
                  </a:lnTo>
                  <a:lnTo>
                    <a:pt x="20" y="449"/>
                  </a:lnTo>
                  <a:lnTo>
                    <a:pt x="43" y="412"/>
                  </a:lnTo>
                  <a:lnTo>
                    <a:pt x="76" y="379"/>
                  </a:lnTo>
                  <a:lnTo>
                    <a:pt x="116" y="346"/>
                  </a:lnTo>
                  <a:lnTo>
                    <a:pt x="165" y="317"/>
                  </a:lnTo>
                  <a:lnTo>
                    <a:pt x="220" y="287"/>
                  </a:lnTo>
                  <a:lnTo>
                    <a:pt x="282" y="261"/>
                  </a:lnTo>
                  <a:lnTo>
                    <a:pt x="352" y="238"/>
                  </a:lnTo>
                  <a:lnTo>
                    <a:pt x="281" y="213"/>
                  </a:lnTo>
                  <a:lnTo>
                    <a:pt x="352" y="192"/>
                  </a:lnTo>
                  <a:lnTo>
                    <a:pt x="428" y="173"/>
                  </a:lnTo>
                  <a:lnTo>
                    <a:pt x="507" y="157"/>
                  </a:lnTo>
                  <a:lnTo>
                    <a:pt x="170" y="37"/>
                  </a:lnTo>
                  <a:lnTo>
                    <a:pt x="165" y="33"/>
                  </a:lnTo>
                  <a:lnTo>
                    <a:pt x="162" y="30"/>
                  </a:lnTo>
                  <a:lnTo>
                    <a:pt x="160" y="25"/>
                  </a:lnTo>
                  <a:lnTo>
                    <a:pt x="158" y="19"/>
                  </a:lnTo>
                  <a:lnTo>
                    <a:pt x="160" y="14"/>
                  </a:lnTo>
                  <a:lnTo>
                    <a:pt x="162" y="9"/>
                  </a:lnTo>
                  <a:lnTo>
                    <a:pt x="167" y="4"/>
                  </a:lnTo>
                  <a:lnTo>
                    <a:pt x="172" y="2"/>
                  </a:lnTo>
                  <a:lnTo>
                    <a:pt x="177"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1908175" y="4162425"/>
              <a:ext cx="2828925" cy="939800"/>
            </a:xfrm>
            <a:custGeom>
              <a:avLst/>
              <a:gdLst>
                <a:gd name="T0" fmla="*/ 890 w 1782"/>
                <a:gd name="T1" fmla="*/ 0 h 592"/>
                <a:gd name="T2" fmla="*/ 994 w 1782"/>
                <a:gd name="T3" fmla="*/ 2 h 592"/>
                <a:gd name="T4" fmla="*/ 1095 w 1782"/>
                <a:gd name="T5" fmla="*/ 7 h 592"/>
                <a:gd name="T6" fmla="*/ 1192 w 1782"/>
                <a:gd name="T7" fmla="*/ 17 h 592"/>
                <a:gd name="T8" fmla="*/ 1283 w 1782"/>
                <a:gd name="T9" fmla="*/ 30 h 592"/>
                <a:gd name="T10" fmla="*/ 1369 w 1782"/>
                <a:gd name="T11" fmla="*/ 46 h 592"/>
                <a:gd name="T12" fmla="*/ 1448 w 1782"/>
                <a:gd name="T13" fmla="*/ 64 h 592"/>
                <a:gd name="T14" fmla="*/ 1521 w 1782"/>
                <a:gd name="T15" fmla="*/ 86 h 592"/>
                <a:gd name="T16" fmla="*/ 1587 w 1782"/>
                <a:gd name="T17" fmla="*/ 111 h 592"/>
                <a:gd name="T18" fmla="*/ 1643 w 1782"/>
                <a:gd name="T19" fmla="*/ 137 h 592"/>
                <a:gd name="T20" fmla="*/ 1691 w 1782"/>
                <a:gd name="T21" fmla="*/ 165 h 592"/>
                <a:gd name="T22" fmla="*/ 1731 w 1782"/>
                <a:gd name="T23" fmla="*/ 196 h 592"/>
                <a:gd name="T24" fmla="*/ 1759 w 1782"/>
                <a:gd name="T25" fmla="*/ 228 h 592"/>
                <a:gd name="T26" fmla="*/ 1777 w 1782"/>
                <a:gd name="T27" fmla="*/ 262 h 592"/>
                <a:gd name="T28" fmla="*/ 1782 w 1782"/>
                <a:gd name="T29" fmla="*/ 297 h 592"/>
                <a:gd name="T30" fmla="*/ 1778 w 1782"/>
                <a:gd name="T31" fmla="*/ 323 h 592"/>
                <a:gd name="T32" fmla="*/ 1769 w 1782"/>
                <a:gd name="T33" fmla="*/ 348 h 592"/>
                <a:gd name="T34" fmla="*/ 1752 w 1782"/>
                <a:gd name="T35" fmla="*/ 374 h 592"/>
                <a:gd name="T36" fmla="*/ 1719 w 1782"/>
                <a:gd name="T37" fmla="*/ 402 h 592"/>
                <a:gd name="T38" fmla="*/ 1678 w 1782"/>
                <a:gd name="T39" fmla="*/ 429 h 592"/>
                <a:gd name="T40" fmla="*/ 1627 w 1782"/>
                <a:gd name="T41" fmla="*/ 452 h 592"/>
                <a:gd name="T42" fmla="*/ 1567 w 1782"/>
                <a:gd name="T43" fmla="*/ 471 h 592"/>
                <a:gd name="T44" fmla="*/ 1501 w 1782"/>
                <a:gd name="T45" fmla="*/ 490 h 592"/>
                <a:gd name="T46" fmla="*/ 1427 w 1782"/>
                <a:gd name="T47" fmla="*/ 503 h 592"/>
                <a:gd name="T48" fmla="*/ 1346 w 1782"/>
                <a:gd name="T49" fmla="*/ 513 h 592"/>
                <a:gd name="T50" fmla="*/ 1258 w 1782"/>
                <a:gd name="T51" fmla="*/ 521 h 592"/>
                <a:gd name="T52" fmla="*/ 1329 w 1782"/>
                <a:gd name="T53" fmla="*/ 554 h 592"/>
                <a:gd name="T54" fmla="*/ 1229 w 1782"/>
                <a:gd name="T55" fmla="*/ 570 h 592"/>
                <a:gd name="T56" fmla="*/ 1121 w 1782"/>
                <a:gd name="T57" fmla="*/ 582 h 592"/>
                <a:gd name="T58" fmla="*/ 1009 w 1782"/>
                <a:gd name="T59" fmla="*/ 590 h 592"/>
                <a:gd name="T60" fmla="*/ 890 w 1782"/>
                <a:gd name="T61" fmla="*/ 592 h 592"/>
                <a:gd name="T62" fmla="*/ 788 w 1782"/>
                <a:gd name="T63" fmla="*/ 590 h 592"/>
                <a:gd name="T64" fmla="*/ 687 w 1782"/>
                <a:gd name="T65" fmla="*/ 585 h 592"/>
                <a:gd name="T66" fmla="*/ 589 w 1782"/>
                <a:gd name="T67" fmla="*/ 575 h 592"/>
                <a:gd name="T68" fmla="*/ 499 w 1782"/>
                <a:gd name="T69" fmla="*/ 562 h 592"/>
                <a:gd name="T70" fmla="*/ 413 w 1782"/>
                <a:gd name="T71" fmla="*/ 546 h 592"/>
                <a:gd name="T72" fmla="*/ 333 w 1782"/>
                <a:gd name="T73" fmla="*/ 527 h 592"/>
                <a:gd name="T74" fmla="*/ 261 w 1782"/>
                <a:gd name="T75" fmla="*/ 506 h 592"/>
                <a:gd name="T76" fmla="*/ 195 w 1782"/>
                <a:gd name="T77" fmla="*/ 481 h 592"/>
                <a:gd name="T78" fmla="*/ 139 w 1782"/>
                <a:gd name="T79" fmla="*/ 455 h 592"/>
                <a:gd name="T80" fmla="*/ 91 w 1782"/>
                <a:gd name="T81" fmla="*/ 427 h 592"/>
                <a:gd name="T82" fmla="*/ 51 w 1782"/>
                <a:gd name="T83" fmla="*/ 396 h 592"/>
                <a:gd name="T84" fmla="*/ 23 w 1782"/>
                <a:gd name="T85" fmla="*/ 364 h 592"/>
                <a:gd name="T86" fmla="*/ 5 w 1782"/>
                <a:gd name="T87" fmla="*/ 331 h 592"/>
                <a:gd name="T88" fmla="*/ 0 w 1782"/>
                <a:gd name="T89" fmla="*/ 297 h 592"/>
                <a:gd name="T90" fmla="*/ 3 w 1782"/>
                <a:gd name="T91" fmla="*/ 270 h 592"/>
                <a:gd name="T92" fmla="*/ 13 w 1782"/>
                <a:gd name="T93" fmla="*/ 244 h 592"/>
                <a:gd name="T94" fmla="*/ 30 w 1782"/>
                <a:gd name="T95" fmla="*/ 219 h 592"/>
                <a:gd name="T96" fmla="*/ 53 w 1782"/>
                <a:gd name="T97" fmla="*/ 196 h 592"/>
                <a:gd name="T98" fmla="*/ 89 w 1782"/>
                <a:gd name="T99" fmla="*/ 170 h 592"/>
                <a:gd name="T100" fmla="*/ 132 w 1782"/>
                <a:gd name="T101" fmla="*/ 149 h 592"/>
                <a:gd name="T102" fmla="*/ 185 w 1782"/>
                <a:gd name="T103" fmla="*/ 127 h 592"/>
                <a:gd name="T104" fmla="*/ 243 w 1782"/>
                <a:gd name="T105" fmla="*/ 111 h 592"/>
                <a:gd name="T106" fmla="*/ 309 w 1782"/>
                <a:gd name="T107" fmla="*/ 96 h 592"/>
                <a:gd name="T108" fmla="*/ 380 w 1782"/>
                <a:gd name="T109" fmla="*/ 83 h 592"/>
                <a:gd name="T110" fmla="*/ 457 w 1782"/>
                <a:gd name="T111" fmla="*/ 74 h 592"/>
                <a:gd name="T112" fmla="*/ 391 w 1782"/>
                <a:gd name="T113" fmla="*/ 51 h 592"/>
                <a:gd name="T114" fmla="*/ 480 w 1782"/>
                <a:gd name="T115" fmla="*/ 33 h 592"/>
                <a:gd name="T116" fmla="*/ 575 w 1782"/>
                <a:gd name="T117" fmla="*/ 18 h 592"/>
                <a:gd name="T118" fmla="*/ 675 w 1782"/>
                <a:gd name="T119" fmla="*/ 8 h 592"/>
                <a:gd name="T120" fmla="*/ 781 w 1782"/>
                <a:gd name="T121" fmla="*/ 2 h 592"/>
                <a:gd name="T122" fmla="*/ 890 w 1782"/>
                <a:gd name="T123"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2" h="592">
                  <a:moveTo>
                    <a:pt x="890" y="0"/>
                  </a:moveTo>
                  <a:lnTo>
                    <a:pt x="994" y="2"/>
                  </a:lnTo>
                  <a:lnTo>
                    <a:pt x="1095" y="7"/>
                  </a:lnTo>
                  <a:lnTo>
                    <a:pt x="1192" y="17"/>
                  </a:lnTo>
                  <a:lnTo>
                    <a:pt x="1283" y="30"/>
                  </a:lnTo>
                  <a:lnTo>
                    <a:pt x="1369" y="46"/>
                  </a:lnTo>
                  <a:lnTo>
                    <a:pt x="1448" y="64"/>
                  </a:lnTo>
                  <a:lnTo>
                    <a:pt x="1521" y="86"/>
                  </a:lnTo>
                  <a:lnTo>
                    <a:pt x="1587" y="111"/>
                  </a:lnTo>
                  <a:lnTo>
                    <a:pt x="1643" y="137"/>
                  </a:lnTo>
                  <a:lnTo>
                    <a:pt x="1691" y="165"/>
                  </a:lnTo>
                  <a:lnTo>
                    <a:pt x="1731" y="196"/>
                  </a:lnTo>
                  <a:lnTo>
                    <a:pt x="1759" y="228"/>
                  </a:lnTo>
                  <a:lnTo>
                    <a:pt x="1777" y="262"/>
                  </a:lnTo>
                  <a:lnTo>
                    <a:pt x="1782" y="297"/>
                  </a:lnTo>
                  <a:lnTo>
                    <a:pt x="1778" y="323"/>
                  </a:lnTo>
                  <a:lnTo>
                    <a:pt x="1769" y="348"/>
                  </a:lnTo>
                  <a:lnTo>
                    <a:pt x="1752" y="374"/>
                  </a:lnTo>
                  <a:lnTo>
                    <a:pt x="1719" y="402"/>
                  </a:lnTo>
                  <a:lnTo>
                    <a:pt x="1678" y="429"/>
                  </a:lnTo>
                  <a:lnTo>
                    <a:pt x="1627" y="452"/>
                  </a:lnTo>
                  <a:lnTo>
                    <a:pt x="1567" y="471"/>
                  </a:lnTo>
                  <a:lnTo>
                    <a:pt x="1501" y="490"/>
                  </a:lnTo>
                  <a:lnTo>
                    <a:pt x="1427" y="503"/>
                  </a:lnTo>
                  <a:lnTo>
                    <a:pt x="1346" y="513"/>
                  </a:lnTo>
                  <a:lnTo>
                    <a:pt x="1258" y="521"/>
                  </a:lnTo>
                  <a:lnTo>
                    <a:pt x="1329" y="554"/>
                  </a:lnTo>
                  <a:lnTo>
                    <a:pt x="1229" y="570"/>
                  </a:lnTo>
                  <a:lnTo>
                    <a:pt x="1121" y="582"/>
                  </a:lnTo>
                  <a:lnTo>
                    <a:pt x="1009" y="590"/>
                  </a:lnTo>
                  <a:lnTo>
                    <a:pt x="890" y="592"/>
                  </a:lnTo>
                  <a:lnTo>
                    <a:pt x="788" y="590"/>
                  </a:lnTo>
                  <a:lnTo>
                    <a:pt x="687" y="585"/>
                  </a:lnTo>
                  <a:lnTo>
                    <a:pt x="589" y="575"/>
                  </a:lnTo>
                  <a:lnTo>
                    <a:pt x="499" y="562"/>
                  </a:lnTo>
                  <a:lnTo>
                    <a:pt x="413" y="546"/>
                  </a:lnTo>
                  <a:lnTo>
                    <a:pt x="333" y="527"/>
                  </a:lnTo>
                  <a:lnTo>
                    <a:pt x="261" y="506"/>
                  </a:lnTo>
                  <a:lnTo>
                    <a:pt x="195" y="481"/>
                  </a:lnTo>
                  <a:lnTo>
                    <a:pt x="139" y="455"/>
                  </a:lnTo>
                  <a:lnTo>
                    <a:pt x="91" y="427"/>
                  </a:lnTo>
                  <a:lnTo>
                    <a:pt x="51" y="396"/>
                  </a:lnTo>
                  <a:lnTo>
                    <a:pt x="23" y="364"/>
                  </a:lnTo>
                  <a:lnTo>
                    <a:pt x="5" y="331"/>
                  </a:lnTo>
                  <a:lnTo>
                    <a:pt x="0" y="297"/>
                  </a:lnTo>
                  <a:lnTo>
                    <a:pt x="3" y="270"/>
                  </a:lnTo>
                  <a:lnTo>
                    <a:pt x="13" y="244"/>
                  </a:lnTo>
                  <a:lnTo>
                    <a:pt x="30" y="219"/>
                  </a:lnTo>
                  <a:lnTo>
                    <a:pt x="53" y="196"/>
                  </a:lnTo>
                  <a:lnTo>
                    <a:pt x="89" y="170"/>
                  </a:lnTo>
                  <a:lnTo>
                    <a:pt x="132" y="149"/>
                  </a:lnTo>
                  <a:lnTo>
                    <a:pt x="185" y="127"/>
                  </a:lnTo>
                  <a:lnTo>
                    <a:pt x="243" y="111"/>
                  </a:lnTo>
                  <a:lnTo>
                    <a:pt x="309" y="96"/>
                  </a:lnTo>
                  <a:lnTo>
                    <a:pt x="380" y="83"/>
                  </a:lnTo>
                  <a:lnTo>
                    <a:pt x="457" y="74"/>
                  </a:lnTo>
                  <a:lnTo>
                    <a:pt x="391" y="51"/>
                  </a:lnTo>
                  <a:lnTo>
                    <a:pt x="480" y="33"/>
                  </a:lnTo>
                  <a:lnTo>
                    <a:pt x="575" y="18"/>
                  </a:lnTo>
                  <a:lnTo>
                    <a:pt x="675" y="8"/>
                  </a:lnTo>
                  <a:lnTo>
                    <a:pt x="781" y="2"/>
                  </a:lnTo>
                  <a:lnTo>
                    <a:pt x="8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p:cNvSpPr>
            <p:nvPr/>
          </p:nvSpPr>
          <p:spPr bwMode="auto">
            <a:xfrm>
              <a:off x="2287588" y="4695825"/>
              <a:ext cx="276225" cy="196850"/>
            </a:xfrm>
            <a:custGeom>
              <a:avLst/>
              <a:gdLst>
                <a:gd name="T0" fmla="*/ 23 w 174"/>
                <a:gd name="T1" fmla="*/ 0 h 124"/>
                <a:gd name="T2" fmla="*/ 174 w 174"/>
                <a:gd name="T3" fmla="*/ 0 h 124"/>
                <a:gd name="T4" fmla="*/ 174 w 174"/>
                <a:gd name="T5" fmla="*/ 40 h 124"/>
                <a:gd name="T6" fmla="*/ 137 w 174"/>
                <a:gd name="T7" fmla="*/ 40 h 124"/>
                <a:gd name="T8" fmla="*/ 137 w 174"/>
                <a:gd name="T9" fmla="*/ 22 h 124"/>
                <a:gd name="T10" fmla="*/ 60 w 174"/>
                <a:gd name="T11" fmla="*/ 22 h 124"/>
                <a:gd name="T12" fmla="*/ 60 w 174"/>
                <a:gd name="T13" fmla="*/ 50 h 124"/>
                <a:gd name="T14" fmla="*/ 139 w 174"/>
                <a:gd name="T15" fmla="*/ 50 h 124"/>
                <a:gd name="T16" fmla="*/ 139 w 174"/>
                <a:gd name="T17" fmla="*/ 71 h 124"/>
                <a:gd name="T18" fmla="*/ 60 w 174"/>
                <a:gd name="T19" fmla="*/ 71 h 124"/>
                <a:gd name="T20" fmla="*/ 60 w 174"/>
                <a:gd name="T21" fmla="*/ 103 h 124"/>
                <a:gd name="T22" fmla="*/ 137 w 174"/>
                <a:gd name="T23" fmla="*/ 103 h 124"/>
                <a:gd name="T24" fmla="*/ 137 w 174"/>
                <a:gd name="T25" fmla="*/ 84 h 124"/>
                <a:gd name="T26" fmla="*/ 174 w 174"/>
                <a:gd name="T27" fmla="*/ 84 h 124"/>
                <a:gd name="T28" fmla="*/ 174 w 174"/>
                <a:gd name="T29" fmla="*/ 124 h 124"/>
                <a:gd name="T30" fmla="*/ 23 w 174"/>
                <a:gd name="T31" fmla="*/ 124 h 124"/>
                <a:gd name="T32" fmla="*/ 23 w 174"/>
                <a:gd name="T33" fmla="*/ 71 h 124"/>
                <a:gd name="T34" fmla="*/ 0 w 174"/>
                <a:gd name="T35" fmla="*/ 71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0"/>
                  </a:lnTo>
                  <a:lnTo>
                    <a:pt x="137" y="40"/>
                  </a:lnTo>
                  <a:lnTo>
                    <a:pt x="137" y="22"/>
                  </a:lnTo>
                  <a:lnTo>
                    <a:pt x="60" y="22"/>
                  </a:lnTo>
                  <a:lnTo>
                    <a:pt x="60" y="50"/>
                  </a:lnTo>
                  <a:lnTo>
                    <a:pt x="139" y="50"/>
                  </a:lnTo>
                  <a:lnTo>
                    <a:pt x="139" y="71"/>
                  </a:lnTo>
                  <a:lnTo>
                    <a:pt x="60" y="71"/>
                  </a:lnTo>
                  <a:lnTo>
                    <a:pt x="60" y="103"/>
                  </a:lnTo>
                  <a:lnTo>
                    <a:pt x="137" y="103"/>
                  </a:lnTo>
                  <a:lnTo>
                    <a:pt x="137" y="84"/>
                  </a:lnTo>
                  <a:lnTo>
                    <a:pt x="174" y="84"/>
                  </a:lnTo>
                  <a:lnTo>
                    <a:pt x="174"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p:nvSpPr>
          <p:spPr bwMode="auto">
            <a:xfrm>
              <a:off x="2673350" y="4691063"/>
              <a:ext cx="260350" cy="206375"/>
            </a:xfrm>
            <a:custGeom>
              <a:avLst/>
              <a:gdLst>
                <a:gd name="T0" fmla="*/ 0 w 164"/>
                <a:gd name="T1" fmla="*/ 0 h 130"/>
                <a:gd name="T2" fmla="*/ 127 w 164"/>
                <a:gd name="T3" fmla="*/ 79 h 130"/>
                <a:gd name="T4" fmla="*/ 127 w 164"/>
                <a:gd name="T5" fmla="*/ 3 h 130"/>
                <a:gd name="T6" fmla="*/ 164 w 164"/>
                <a:gd name="T7" fmla="*/ 3 h 130"/>
                <a:gd name="T8" fmla="*/ 164 w 164"/>
                <a:gd name="T9" fmla="*/ 130 h 130"/>
                <a:gd name="T10" fmla="*/ 36 w 164"/>
                <a:gd name="T11" fmla="*/ 51 h 130"/>
                <a:gd name="T12" fmla="*/ 36 w 164"/>
                <a:gd name="T13" fmla="*/ 127 h 130"/>
                <a:gd name="T14" fmla="*/ 0 w 164"/>
                <a:gd name="T15" fmla="*/ 127 h 130"/>
                <a:gd name="T16" fmla="*/ 0 w 164"/>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130">
                  <a:moveTo>
                    <a:pt x="0" y="0"/>
                  </a:moveTo>
                  <a:lnTo>
                    <a:pt x="127" y="79"/>
                  </a:lnTo>
                  <a:lnTo>
                    <a:pt x="127" y="3"/>
                  </a:lnTo>
                  <a:lnTo>
                    <a:pt x="164" y="3"/>
                  </a:lnTo>
                  <a:lnTo>
                    <a:pt x="164" y="130"/>
                  </a:lnTo>
                  <a:lnTo>
                    <a:pt x="36" y="51"/>
                  </a:lnTo>
                  <a:lnTo>
                    <a:pt x="36" y="127"/>
                  </a:lnTo>
                  <a:lnTo>
                    <a:pt x="0" y="127"/>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auto">
            <a:xfrm>
              <a:off x="3022600" y="4695825"/>
              <a:ext cx="277813" cy="196850"/>
            </a:xfrm>
            <a:custGeom>
              <a:avLst/>
              <a:gdLst>
                <a:gd name="T0" fmla="*/ 24 w 175"/>
                <a:gd name="T1" fmla="*/ 0 h 124"/>
                <a:gd name="T2" fmla="*/ 175 w 175"/>
                <a:gd name="T3" fmla="*/ 0 h 124"/>
                <a:gd name="T4" fmla="*/ 175 w 175"/>
                <a:gd name="T5" fmla="*/ 40 h 124"/>
                <a:gd name="T6" fmla="*/ 138 w 175"/>
                <a:gd name="T7" fmla="*/ 40 h 124"/>
                <a:gd name="T8" fmla="*/ 138 w 175"/>
                <a:gd name="T9" fmla="*/ 22 h 124"/>
                <a:gd name="T10" fmla="*/ 61 w 175"/>
                <a:gd name="T11" fmla="*/ 22 h 124"/>
                <a:gd name="T12" fmla="*/ 61 w 175"/>
                <a:gd name="T13" fmla="*/ 50 h 124"/>
                <a:gd name="T14" fmla="*/ 140 w 175"/>
                <a:gd name="T15" fmla="*/ 50 h 124"/>
                <a:gd name="T16" fmla="*/ 140 w 175"/>
                <a:gd name="T17" fmla="*/ 71 h 124"/>
                <a:gd name="T18" fmla="*/ 61 w 175"/>
                <a:gd name="T19" fmla="*/ 71 h 124"/>
                <a:gd name="T20" fmla="*/ 61 w 175"/>
                <a:gd name="T21" fmla="*/ 103 h 124"/>
                <a:gd name="T22" fmla="*/ 138 w 175"/>
                <a:gd name="T23" fmla="*/ 103 h 124"/>
                <a:gd name="T24" fmla="*/ 138 w 175"/>
                <a:gd name="T25" fmla="*/ 84 h 124"/>
                <a:gd name="T26" fmla="*/ 175 w 175"/>
                <a:gd name="T27" fmla="*/ 84 h 124"/>
                <a:gd name="T28" fmla="*/ 175 w 175"/>
                <a:gd name="T29" fmla="*/ 124 h 124"/>
                <a:gd name="T30" fmla="*/ 24 w 175"/>
                <a:gd name="T31" fmla="*/ 124 h 124"/>
                <a:gd name="T32" fmla="*/ 24 w 175"/>
                <a:gd name="T33" fmla="*/ 71 h 124"/>
                <a:gd name="T34" fmla="*/ 0 w 175"/>
                <a:gd name="T35" fmla="*/ 71 h 124"/>
                <a:gd name="T36" fmla="*/ 0 w 175"/>
                <a:gd name="T37" fmla="*/ 50 h 124"/>
                <a:gd name="T38" fmla="*/ 24 w 175"/>
                <a:gd name="T39" fmla="*/ 50 h 124"/>
                <a:gd name="T40" fmla="*/ 24 w 175"/>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24">
                  <a:moveTo>
                    <a:pt x="24" y="0"/>
                  </a:moveTo>
                  <a:lnTo>
                    <a:pt x="175" y="0"/>
                  </a:lnTo>
                  <a:lnTo>
                    <a:pt x="175" y="40"/>
                  </a:lnTo>
                  <a:lnTo>
                    <a:pt x="138" y="40"/>
                  </a:lnTo>
                  <a:lnTo>
                    <a:pt x="138" y="22"/>
                  </a:lnTo>
                  <a:lnTo>
                    <a:pt x="61" y="22"/>
                  </a:lnTo>
                  <a:lnTo>
                    <a:pt x="61" y="50"/>
                  </a:lnTo>
                  <a:lnTo>
                    <a:pt x="140" y="50"/>
                  </a:lnTo>
                  <a:lnTo>
                    <a:pt x="140" y="71"/>
                  </a:lnTo>
                  <a:lnTo>
                    <a:pt x="61" y="71"/>
                  </a:lnTo>
                  <a:lnTo>
                    <a:pt x="61" y="103"/>
                  </a:lnTo>
                  <a:lnTo>
                    <a:pt x="138" y="103"/>
                  </a:lnTo>
                  <a:lnTo>
                    <a:pt x="138" y="84"/>
                  </a:lnTo>
                  <a:lnTo>
                    <a:pt x="175" y="84"/>
                  </a:lnTo>
                  <a:lnTo>
                    <a:pt x="175" y="124"/>
                  </a:lnTo>
                  <a:lnTo>
                    <a:pt x="24" y="124"/>
                  </a:lnTo>
                  <a:lnTo>
                    <a:pt x="24" y="71"/>
                  </a:lnTo>
                  <a:lnTo>
                    <a:pt x="0" y="71"/>
                  </a:lnTo>
                  <a:lnTo>
                    <a:pt x="0" y="50"/>
                  </a:lnTo>
                  <a:lnTo>
                    <a:pt x="24" y="50"/>
                  </a:lnTo>
                  <a:lnTo>
                    <a:pt x="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noEditPoints="1"/>
            </p:cNvSpPr>
            <p:nvPr/>
          </p:nvSpPr>
          <p:spPr bwMode="auto">
            <a:xfrm>
              <a:off x="3381375" y="4695825"/>
              <a:ext cx="298450" cy="196850"/>
            </a:xfrm>
            <a:custGeom>
              <a:avLst/>
              <a:gdLst>
                <a:gd name="T0" fmla="*/ 59 w 188"/>
                <a:gd name="T1" fmla="*/ 22 h 124"/>
                <a:gd name="T2" fmla="*/ 59 w 188"/>
                <a:gd name="T3" fmla="*/ 50 h 124"/>
                <a:gd name="T4" fmla="*/ 124 w 188"/>
                <a:gd name="T5" fmla="*/ 50 h 124"/>
                <a:gd name="T6" fmla="*/ 132 w 188"/>
                <a:gd name="T7" fmla="*/ 50 h 124"/>
                <a:gd name="T8" fmla="*/ 139 w 188"/>
                <a:gd name="T9" fmla="*/ 48 h 124"/>
                <a:gd name="T10" fmla="*/ 144 w 188"/>
                <a:gd name="T11" fmla="*/ 45 h 124"/>
                <a:gd name="T12" fmla="*/ 147 w 188"/>
                <a:gd name="T13" fmla="*/ 43 h 124"/>
                <a:gd name="T14" fmla="*/ 149 w 188"/>
                <a:gd name="T15" fmla="*/ 40 h 124"/>
                <a:gd name="T16" fmla="*/ 150 w 188"/>
                <a:gd name="T17" fmla="*/ 37 h 124"/>
                <a:gd name="T18" fmla="*/ 149 w 188"/>
                <a:gd name="T19" fmla="*/ 33 h 124"/>
                <a:gd name="T20" fmla="*/ 147 w 188"/>
                <a:gd name="T21" fmla="*/ 30 h 124"/>
                <a:gd name="T22" fmla="*/ 144 w 188"/>
                <a:gd name="T23" fmla="*/ 27 h 124"/>
                <a:gd name="T24" fmla="*/ 139 w 188"/>
                <a:gd name="T25" fmla="*/ 23 h 124"/>
                <a:gd name="T26" fmla="*/ 132 w 188"/>
                <a:gd name="T27" fmla="*/ 23 h 124"/>
                <a:gd name="T28" fmla="*/ 124 w 188"/>
                <a:gd name="T29" fmla="*/ 22 h 124"/>
                <a:gd name="T30" fmla="*/ 59 w 188"/>
                <a:gd name="T31" fmla="*/ 22 h 124"/>
                <a:gd name="T32" fmla="*/ 23 w 188"/>
                <a:gd name="T33" fmla="*/ 0 h 124"/>
                <a:gd name="T34" fmla="*/ 121 w 188"/>
                <a:gd name="T35" fmla="*/ 0 h 124"/>
                <a:gd name="T36" fmla="*/ 145 w 188"/>
                <a:gd name="T37" fmla="*/ 2 h 124"/>
                <a:gd name="T38" fmla="*/ 163 w 188"/>
                <a:gd name="T39" fmla="*/ 7 h 124"/>
                <a:gd name="T40" fmla="*/ 177 w 188"/>
                <a:gd name="T41" fmla="*/ 14 h 124"/>
                <a:gd name="T42" fmla="*/ 183 w 188"/>
                <a:gd name="T43" fmla="*/ 23 h 124"/>
                <a:gd name="T44" fmla="*/ 187 w 188"/>
                <a:gd name="T45" fmla="*/ 37 h 124"/>
                <a:gd name="T46" fmla="*/ 185 w 188"/>
                <a:gd name="T47" fmla="*/ 45 h 124"/>
                <a:gd name="T48" fmla="*/ 180 w 188"/>
                <a:gd name="T49" fmla="*/ 55 h 124"/>
                <a:gd name="T50" fmla="*/ 170 w 188"/>
                <a:gd name="T51" fmla="*/ 61 h 124"/>
                <a:gd name="T52" fmla="*/ 155 w 188"/>
                <a:gd name="T53" fmla="*/ 68 h 124"/>
                <a:gd name="T54" fmla="*/ 137 w 188"/>
                <a:gd name="T55" fmla="*/ 71 h 124"/>
                <a:gd name="T56" fmla="*/ 188 w 188"/>
                <a:gd name="T57" fmla="*/ 124 h 124"/>
                <a:gd name="T58" fmla="*/ 145 w 188"/>
                <a:gd name="T59" fmla="*/ 124 h 124"/>
                <a:gd name="T60" fmla="*/ 96 w 188"/>
                <a:gd name="T61" fmla="*/ 71 h 124"/>
                <a:gd name="T62" fmla="*/ 59 w 188"/>
                <a:gd name="T63" fmla="*/ 71 h 124"/>
                <a:gd name="T64" fmla="*/ 59 w 188"/>
                <a:gd name="T65" fmla="*/ 124 h 124"/>
                <a:gd name="T66" fmla="*/ 23 w 188"/>
                <a:gd name="T67" fmla="*/ 124 h 124"/>
                <a:gd name="T68" fmla="*/ 23 w 188"/>
                <a:gd name="T69" fmla="*/ 71 h 124"/>
                <a:gd name="T70" fmla="*/ 0 w 188"/>
                <a:gd name="T71" fmla="*/ 71 h 124"/>
                <a:gd name="T72" fmla="*/ 0 w 188"/>
                <a:gd name="T73" fmla="*/ 50 h 124"/>
                <a:gd name="T74" fmla="*/ 23 w 188"/>
                <a:gd name="T75" fmla="*/ 50 h 124"/>
                <a:gd name="T76" fmla="*/ 23 w 188"/>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24">
                  <a:moveTo>
                    <a:pt x="59" y="22"/>
                  </a:moveTo>
                  <a:lnTo>
                    <a:pt x="59" y="50"/>
                  </a:lnTo>
                  <a:lnTo>
                    <a:pt x="124" y="50"/>
                  </a:lnTo>
                  <a:lnTo>
                    <a:pt x="132" y="50"/>
                  </a:lnTo>
                  <a:lnTo>
                    <a:pt x="139" y="48"/>
                  </a:lnTo>
                  <a:lnTo>
                    <a:pt x="144" y="45"/>
                  </a:lnTo>
                  <a:lnTo>
                    <a:pt x="147" y="43"/>
                  </a:lnTo>
                  <a:lnTo>
                    <a:pt x="149" y="40"/>
                  </a:lnTo>
                  <a:lnTo>
                    <a:pt x="150" y="37"/>
                  </a:lnTo>
                  <a:lnTo>
                    <a:pt x="149" y="33"/>
                  </a:lnTo>
                  <a:lnTo>
                    <a:pt x="147" y="30"/>
                  </a:lnTo>
                  <a:lnTo>
                    <a:pt x="144" y="27"/>
                  </a:lnTo>
                  <a:lnTo>
                    <a:pt x="139" y="23"/>
                  </a:lnTo>
                  <a:lnTo>
                    <a:pt x="132" y="23"/>
                  </a:lnTo>
                  <a:lnTo>
                    <a:pt x="124" y="22"/>
                  </a:lnTo>
                  <a:lnTo>
                    <a:pt x="59" y="22"/>
                  </a:lnTo>
                  <a:close/>
                  <a:moveTo>
                    <a:pt x="23" y="0"/>
                  </a:moveTo>
                  <a:lnTo>
                    <a:pt x="121" y="0"/>
                  </a:lnTo>
                  <a:lnTo>
                    <a:pt x="145" y="2"/>
                  </a:lnTo>
                  <a:lnTo>
                    <a:pt x="163" y="7"/>
                  </a:lnTo>
                  <a:lnTo>
                    <a:pt x="177" y="14"/>
                  </a:lnTo>
                  <a:lnTo>
                    <a:pt x="183" y="23"/>
                  </a:lnTo>
                  <a:lnTo>
                    <a:pt x="187" y="37"/>
                  </a:lnTo>
                  <a:lnTo>
                    <a:pt x="185" y="45"/>
                  </a:lnTo>
                  <a:lnTo>
                    <a:pt x="180" y="55"/>
                  </a:lnTo>
                  <a:lnTo>
                    <a:pt x="170" y="61"/>
                  </a:lnTo>
                  <a:lnTo>
                    <a:pt x="155" y="68"/>
                  </a:lnTo>
                  <a:lnTo>
                    <a:pt x="137" y="71"/>
                  </a:lnTo>
                  <a:lnTo>
                    <a:pt x="188" y="124"/>
                  </a:lnTo>
                  <a:lnTo>
                    <a:pt x="145" y="124"/>
                  </a:lnTo>
                  <a:lnTo>
                    <a:pt x="96" y="71"/>
                  </a:lnTo>
                  <a:lnTo>
                    <a:pt x="59" y="71"/>
                  </a:lnTo>
                  <a:lnTo>
                    <a:pt x="59" y="124"/>
                  </a:lnTo>
                  <a:lnTo>
                    <a:pt x="23" y="124"/>
                  </a:lnTo>
                  <a:lnTo>
                    <a:pt x="23" y="71"/>
                  </a:lnTo>
                  <a:lnTo>
                    <a:pt x="0" y="71"/>
                  </a:lnTo>
                  <a:lnTo>
                    <a:pt x="0" y="50"/>
                  </a:lnTo>
                  <a:lnTo>
                    <a:pt x="23" y="50"/>
                  </a:lnTo>
                  <a:lnTo>
                    <a:pt x="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3738563" y="4691063"/>
              <a:ext cx="338138" cy="206375"/>
            </a:xfrm>
            <a:custGeom>
              <a:avLst/>
              <a:gdLst>
                <a:gd name="T0" fmla="*/ 105 w 213"/>
                <a:gd name="T1" fmla="*/ 0 h 130"/>
                <a:gd name="T2" fmla="*/ 137 w 213"/>
                <a:gd name="T3" fmla="*/ 3 h 130"/>
                <a:gd name="T4" fmla="*/ 165 w 213"/>
                <a:gd name="T5" fmla="*/ 12 h 130"/>
                <a:gd name="T6" fmla="*/ 189 w 213"/>
                <a:gd name="T7" fmla="*/ 26 h 130"/>
                <a:gd name="T8" fmla="*/ 160 w 213"/>
                <a:gd name="T9" fmla="*/ 41 h 130"/>
                <a:gd name="T10" fmla="*/ 145 w 213"/>
                <a:gd name="T11" fmla="*/ 31 h 130"/>
                <a:gd name="T12" fmla="*/ 127 w 213"/>
                <a:gd name="T13" fmla="*/ 25 h 130"/>
                <a:gd name="T14" fmla="*/ 105 w 213"/>
                <a:gd name="T15" fmla="*/ 23 h 130"/>
                <a:gd name="T16" fmla="*/ 85 w 213"/>
                <a:gd name="T17" fmla="*/ 25 h 130"/>
                <a:gd name="T18" fmla="*/ 67 w 213"/>
                <a:gd name="T19" fmla="*/ 31 h 130"/>
                <a:gd name="T20" fmla="*/ 52 w 213"/>
                <a:gd name="T21" fmla="*/ 40 h 130"/>
                <a:gd name="T22" fmla="*/ 42 w 213"/>
                <a:gd name="T23" fmla="*/ 51 h 130"/>
                <a:gd name="T24" fmla="*/ 39 w 213"/>
                <a:gd name="T25" fmla="*/ 66 h 130"/>
                <a:gd name="T26" fmla="*/ 42 w 213"/>
                <a:gd name="T27" fmla="*/ 79 h 130"/>
                <a:gd name="T28" fmla="*/ 52 w 213"/>
                <a:gd name="T29" fmla="*/ 91 h 130"/>
                <a:gd name="T30" fmla="*/ 67 w 213"/>
                <a:gd name="T31" fmla="*/ 101 h 130"/>
                <a:gd name="T32" fmla="*/ 85 w 213"/>
                <a:gd name="T33" fmla="*/ 106 h 130"/>
                <a:gd name="T34" fmla="*/ 105 w 213"/>
                <a:gd name="T35" fmla="*/ 109 h 130"/>
                <a:gd name="T36" fmla="*/ 128 w 213"/>
                <a:gd name="T37" fmla="*/ 106 h 130"/>
                <a:gd name="T38" fmla="*/ 148 w 213"/>
                <a:gd name="T39" fmla="*/ 99 h 130"/>
                <a:gd name="T40" fmla="*/ 163 w 213"/>
                <a:gd name="T41" fmla="*/ 89 h 130"/>
                <a:gd name="T42" fmla="*/ 173 w 213"/>
                <a:gd name="T43" fmla="*/ 74 h 130"/>
                <a:gd name="T44" fmla="*/ 105 w 213"/>
                <a:gd name="T45" fmla="*/ 74 h 130"/>
                <a:gd name="T46" fmla="*/ 105 w 213"/>
                <a:gd name="T47" fmla="*/ 53 h 130"/>
                <a:gd name="T48" fmla="*/ 213 w 213"/>
                <a:gd name="T49" fmla="*/ 53 h 130"/>
                <a:gd name="T50" fmla="*/ 213 w 213"/>
                <a:gd name="T51" fmla="*/ 69 h 130"/>
                <a:gd name="T52" fmla="*/ 209 w 213"/>
                <a:gd name="T53" fmla="*/ 79 h 130"/>
                <a:gd name="T54" fmla="*/ 204 w 213"/>
                <a:gd name="T55" fmla="*/ 91 h 130"/>
                <a:gd name="T56" fmla="*/ 194 w 213"/>
                <a:gd name="T57" fmla="*/ 102 h 130"/>
                <a:gd name="T58" fmla="*/ 180 w 213"/>
                <a:gd name="T59" fmla="*/ 112 h 130"/>
                <a:gd name="T60" fmla="*/ 160 w 213"/>
                <a:gd name="T61" fmla="*/ 122 h 130"/>
                <a:gd name="T62" fmla="*/ 137 w 213"/>
                <a:gd name="T63" fmla="*/ 127 h 130"/>
                <a:gd name="T64" fmla="*/ 105 w 213"/>
                <a:gd name="T65" fmla="*/ 130 h 130"/>
                <a:gd name="T66" fmla="*/ 72 w 213"/>
                <a:gd name="T67" fmla="*/ 127 h 130"/>
                <a:gd name="T68" fmla="*/ 42 w 213"/>
                <a:gd name="T69" fmla="*/ 117 h 130"/>
                <a:gd name="T70" fmla="*/ 21 w 213"/>
                <a:gd name="T71" fmla="*/ 104 h 130"/>
                <a:gd name="T72" fmla="*/ 6 w 213"/>
                <a:gd name="T73" fmla="*/ 86 h 130"/>
                <a:gd name="T74" fmla="*/ 0 w 213"/>
                <a:gd name="T75" fmla="*/ 66 h 130"/>
                <a:gd name="T76" fmla="*/ 6 w 213"/>
                <a:gd name="T77" fmla="*/ 45 h 130"/>
                <a:gd name="T78" fmla="*/ 21 w 213"/>
                <a:gd name="T79" fmla="*/ 26 h 130"/>
                <a:gd name="T80" fmla="*/ 42 w 213"/>
                <a:gd name="T81" fmla="*/ 13 h 130"/>
                <a:gd name="T82" fmla="*/ 72 w 213"/>
                <a:gd name="T83" fmla="*/ 3 h 130"/>
                <a:gd name="T84" fmla="*/ 105 w 213"/>
                <a:gd name="T8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3" h="130">
                  <a:moveTo>
                    <a:pt x="105" y="0"/>
                  </a:moveTo>
                  <a:lnTo>
                    <a:pt x="137" y="3"/>
                  </a:lnTo>
                  <a:lnTo>
                    <a:pt x="165" y="12"/>
                  </a:lnTo>
                  <a:lnTo>
                    <a:pt x="189" y="26"/>
                  </a:lnTo>
                  <a:lnTo>
                    <a:pt x="160" y="41"/>
                  </a:lnTo>
                  <a:lnTo>
                    <a:pt x="145" y="31"/>
                  </a:lnTo>
                  <a:lnTo>
                    <a:pt x="127" y="25"/>
                  </a:lnTo>
                  <a:lnTo>
                    <a:pt x="105" y="23"/>
                  </a:lnTo>
                  <a:lnTo>
                    <a:pt x="85" y="25"/>
                  </a:lnTo>
                  <a:lnTo>
                    <a:pt x="67" y="31"/>
                  </a:lnTo>
                  <a:lnTo>
                    <a:pt x="52" y="40"/>
                  </a:lnTo>
                  <a:lnTo>
                    <a:pt x="42" y="51"/>
                  </a:lnTo>
                  <a:lnTo>
                    <a:pt x="39" y="66"/>
                  </a:lnTo>
                  <a:lnTo>
                    <a:pt x="42" y="79"/>
                  </a:lnTo>
                  <a:lnTo>
                    <a:pt x="52" y="91"/>
                  </a:lnTo>
                  <a:lnTo>
                    <a:pt x="67" y="101"/>
                  </a:lnTo>
                  <a:lnTo>
                    <a:pt x="85" y="106"/>
                  </a:lnTo>
                  <a:lnTo>
                    <a:pt x="105" y="109"/>
                  </a:lnTo>
                  <a:lnTo>
                    <a:pt x="128" y="106"/>
                  </a:lnTo>
                  <a:lnTo>
                    <a:pt x="148" y="99"/>
                  </a:lnTo>
                  <a:lnTo>
                    <a:pt x="163" y="89"/>
                  </a:lnTo>
                  <a:lnTo>
                    <a:pt x="173" y="74"/>
                  </a:lnTo>
                  <a:lnTo>
                    <a:pt x="105" y="74"/>
                  </a:lnTo>
                  <a:lnTo>
                    <a:pt x="105" y="53"/>
                  </a:lnTo>
                  <a:lnTo>
                    <a:pt x="213" y="53"/>
                  </a:lnTo>
                  <a:lnTo>
                    <a:pt x="213" y="69"/>
                  </a:lnTo>
                  <a:lnTo>
                    <a:pt x="209" y="79"/>
                  </a:lnTo>
                  <a:lnTo>
                    <a:pt x="204" y="91"/>
                  </a:lnTo>
                  <a:lnTo>
                    <a:pt x="194" y="102"/>
                  </a:lnTo>
                  <a:lnTo>
                    <a:pt x="180" y="112"/>
                  </a:lnTo>
                  <a:lnTo>
                    <a:pt x="160" y="122"/>
                  </a:lnTo>
                  <a:lnTo>
                    <a:pt x="137" y="127"/>
                  </a:lnTo>
                  <a:lnTo>
                    <a:pt x="105" y="130"/>
                  </a:lnTo>
                  <a:lnTo>
                    <a:pt x="72" y="127"/>
                  </a:lnTo>
                  <a:lnTo>
                    <a:pt x="42" y="117"/>
                  </a:lnTo>
                  <a:lnTo>
                    <a:pt x="21" y="104"/>
                  </a:lnTo>
                  <a:lnTo>
                    <a:pt x="6" y="86"/>
                  </a:lnTo>
                  <a:lnTo>
                    <a:pt x="0" y="66"/>
                  </a:lnTo>
                  <a:lnTo>
                    <a:pt x="6" y="45"/>
                  </a:lnTo>
                  <a:lnTo>
                    <a:pt x="21" y="26"/>
                  </a:lnTo>
                  <a:lnTo>
                    <a:pt x="42" y="13"/>
                  </a:lnTo>
                  <a:lnTo>
                    <a:pt x="72" y="3"/>
                  </a:lnTo>
                  <a:lnTo>
                    <a:pt x="10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auto">
            <a:xfrm>
              <a:off x="4098925" y="4695825"/>
              <a:ext cx="284163" cy="196850"/>
            </a:xfrm>
            <a:custGeom>
              <a:avLst/>
              <a:gdLst>
                <a:gd name="T0" fmla="*/ 0 w 179"/>
                <a:gd name="T1" fmla="*/ 0 h 124"/>
                <a:gd name="T2" fmla="*/ 42 w 179"/>
                <a:gd name="T3" fmla="*/ 0 h 124"/>
                <a:gd name="T4" fmla="*/ 90 w 179"/>
                <a:gd name="T5" fmla="*/ 48 h 124"/>
                <a:gd name="T6" fmla="*/ 136 w 179"/>
                <a:gd name="T7" fmla="*/ 0 h 124"/>
                <a:gd name="T8" fmla="*/ 179 w 179"/>
                <a:gd name="T9" fmla="*/ 0 h 124"/>
                <a:gd name="T10" fmla="*/ 108 w 179"/>
                <a:gd name="T11" fmla="*/ 70 h 124"/>
                <a:gd name="T12" fmla="*/ 108 w 179"/>
                <a:gd name="T13" fmla="*/ 124 h 124"/>
                <a:gd name="T14" fmla="*/ 71 w 179"/>
                <a:gd name="T15" fmla="*/ 124 h 124"/>
                <a:gd name="T16" fmla="*/ 71 w 179"/>
                <a:gd name="T17" fmla="*/ 70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2" y="0"/>
                  </a:lnTo>
                  <a:lnTo>
                    <a:pt x="90" y="48"/>
                  </a:lnTo>
                  <a:lnTo>
                    <a:pt x="136" y="0"/>
                  </a:lnTo>
                  <a:lnTo>
                    <a:pt x="179" y="0"/>
                  </a:lnTo>
                  <a:lnTo>
                    <a:pt x="108" y="70"/>
                  </a:lnTo>
                  <a:lnTo>
                    <a:pt x="108" y="124"/>
                  </a:lnTo>
                  <a:lnTo>
                    <a:pt x="71" y="124"/>
                  </a:lnTo>
                  <a:lnTo>
                    <a:pt x="71" y="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p:cNvSpPr>
            <p:nvPr/>
          </p:nvSpPr>
          <p:spPr bwMode="auto">
            <a:xfrm>
              <a:off x="2274888" y="4683125"/>
              <a:ext cx="274638" cy="196850"/>
            </a:xfrm>
            <a:custGeom>
              <a:avLst/>
              <a:gdLst>
                <a:gd name="T0" fmla="*/ 23 w 173"/>
                <a:gd name="T1" fmla="*/ 0 h 124"/>
                <a:gd name="T2" fmla="*/ 173 w 173"/>
                <a:gd name="T3" fmla="*/ 0 h 124"/>
                <a:gd name="T4" fmla="*/ 173 w 173"/>
                <a:gd name="T5" fmla="*/ 41 h 124"/>
                <a:gd name="T6" fmla="*/ 137 w 173"/>
                <a:gd name="T7" fmla="*/ 41 h 124"/>
                <a:gd name="T8" fmla="*/ 137 w 173"/>
                <a:gd name="T9" fmla="*/ 23 h 124"/>
                <a:gd name="T10" fmla="*/ 60 w 173"/>
                <a:gd name="T11" fmla="*/ 23 h 124"/>
                <a:gd name="T12" fmla="*/ 60 w 173"/>
                <a:gd name="T13" fmla="*/ 50 h 124"/>
                <a:gd name="T14" fmla="*/ 140 w 173"/>
                <a:gd name="T15" fmla="*/ 50 h 124"/>
                <a:gd name="T16" fmla="*/ 140 w 173"/>
                <a:gd name="T17" fmla="*/ 73 h 124"/>
                <a:gd name="T18" fmla="*/ 60 w 173"/>
                <a:gd name="T19" fmla="*/ 73 h 124"/>
                <a:gd name="T20" fmla="*/ 60 w 173"/>
                <a:gd name="T21" fmla="*/ 102 h 124"/>
                <a:gd name="T22" fmla="*/ 137 w 173"/>
                <a:gd name="T23" fmla="*/ 102 h 124"/>
                <a:gd name="T24" fmla="*/ 137 w 173"/>
                <a:gd name="T25" fmla="*/ 84 h 124"/>
                <a:gd name="T26" fmla="*/ 173 w 173"/>
                <a:gd name="T27" fmla="*/ 84 h 124"/>
                <a:gd name="T28" fmla="*/ 173 w 173"/>
                <a:gd name="T29" fmla="*/ 124 h 124"/>
                <a:gd name="T30" fmla="*/ 23 w 173"/>
                <a:gd name="T31" fmla="*/ 124 h 124"/>
                <a:gd name="T32" fmla="*/ 23 w 173"/>
                <a:gd name="T33" fmla="*/ 73 h 124"/>
                <a:gd name="T34" fmla="*/ 0 w 173"/>
                <a:gd name="T35" fmla="*/ 73 h 124"/>
                <a:gd name="T36" fmla="*/ 0 w 173"/>
                <a:gd name="T37" fmla="*/ 50 h 124"/>
                <a:gd name="T38" fmla="*/ 23 w 173"/>
                <a:gd name="T39" fmla="*/ 50 h 124"/>
                <a:gd name="T40" fmla="*/ 23 w 173"/>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24">
                  <a:moveTo>
                    <a:pt x="23" y="0"/>
                  </a:moveTo>
                  <a:lnTo>
                    <a:pt x="173" y="0"/>
                  </a:lnTo>
                  <a:lnTo>
                    <a:pt x="173" y="41"/>
                  </a:lnTo>
                  <a:lnTo>
                    <a:pt x="137" y="41"/>
                  </a:lnTo>
                  <a:lnTo>
                    <a:pt x="137" y="23"/>
                  </a:lnTo>
                  <a:lnTo>
                    <a:pt x="60" y="23"/>
                  </a:lnTo>
                  <a:lnTo>
                    <a:pt x="60" y="50"/>
                  </a:lnTo>
                  <a:lnTo>
                    <a:pt x="140" y="50"/>
                  </a:lnTo>
                  <a:lnTo>
                    <a:pt x="140" y="73"/>
                  </a:lnTo>
                  <a:lnTo>
                    <a:pt x="60" y="73"/>
                  </a:lnTo>
                  <a:lnTo>
                    <a:pt x="60" y="102"/>
                  </a:lnTo>
                  <a:lnTo>
                    <a:pt x="137" y="102"/>
                  </a:lnTo>
                  <a:lnTo>
                    <a:pt x="137" y="84"/>
                  </a:lnTo>
                  <a:lnTo>
                    <a:pt x="173" y="84"/>
                  </a:lnTo>
                  <a:lnTo>
                    <a:pt x="173"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2660650" y="4679950"/>
              <a:ext cx="261938" cy="204788"/>
            </a:xfrm>
            <a:custGeom>
              <a:avLst/>
              <a:gdLst>
                <a:gd name="T0" fmla="*/ 0 w 165"/>
                <a:gd name="T1" fmla="*/ 0 h 129"/>
                <a:gd name="T2" fmla="*/ 127 w 165"/>
                <a:gd name="T3" fmla="*/ 78 h 129"/>
                <a:gd name="T4" fmla="*/ 127 w 165"/>
                <a:gd name="T5" fmla="*/ 2 h 129"/>
                <a:gd name="T6" fmla="*/ 165 w 165"/>
                <a:gd name="T7" fmla="*/ 2 h 129"/>
                <a:gd name="T8" fmla="*/ 165 w 165"/>
                <a:gd name="T9" fmla="*/ 129 h 129"/>
                <a:gd name="T10" fmla="*/ 38 w 165"/>
                <a:gd name="T11" fmla="*/ 50 h 129"/>
                <a:gd name="T12" fmla="*/ 38 w 165"/>
                <a:gd name="T13" fmla="*/ 126 h 129"/>
                <a:gd name="T14" fmla="*/ 0 w 165"/>
                <a:gd name="T15" fmla="*/ 126 h 129"/>
                <a:gd name="T16" fmla="*/ 0 w 165"/>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29">
                  <a:moveTo>
                    <a:pt x="0" y="0"/>
                  </a:moveTo>
                  <a:lnTo>
                    <a:pt x="127" y="78"/>
                  </a:lnTo>
                  <a:lnTo>
                    <a:pt x="127" y="2"/>
                  </a:lnTo>
                  <a:lnTo>
                    <a:pt x="165" y="2"/>
                  </a:lnTo>
                  <a:lnTo>
                    <a:pt x="165" y="129"/>
                  </a:lnTo>
                  <a:lnTo>
                    <a:pt x="38" y="50"/>
                  </a:lnTo>
                  <a:lnTo>
                    <a:pt x="38" y="126"/>
                  </a:lnTo>
                  <a:lnTo>
                    <a:pt x="0" y="12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3011488" y="4683125"/>
              <a:ext cx="276225" cy="196850"/>
            </a:xfrm>
            <a:custGeom>
              <a:avLst/>
              <a:gdLst>
                <a:gd name="T0" fmla="*/ 23 w 174"/>
                <a:gd name="T1" fmla="*/ 0 h 124"/>
                <a:gd name="T2" fmla="*/ 174 w 174"/>
                <a:gd name="T3" fmla="*/ 0 h 124"/>
                <a:gd name="T4" fmla="*/ 174 w 174"/>
                <a:gd name="T5" fmla="*/ 41 h 124"/>
                <a:gd name="T6" fmla="*/ 137 w 174"/>
                <a:gd name="T7" fmla="*/ 41 h 124"/>
                <a:gd name="T8" fmla="*/ 137 w 174"/>
                <a:gd name="T9" fmla="*/ 23 h 124"/>
                <a:gd name="T10" fmla="*/ 60 w 174"/>
                <a:gd name="T11" fmla="*/ 23 h 124"/>
                <a:gd name="T12" fmla="*/ 60 w 174"/>
                <a:gd name="T13" fmla="*/ 50 h 124"/>
                <a:gd name="T14" fmla="*/ 140 w 174"/>
                <a:gd name="T15" fmla="*/ 50 h 124"/>
                <a:gd name="T16" fmla="*/ 140 w 174"/>
                <a:gd name="T17" fmla="*/ 73 h 124"/>
                <a:gd name="T18" fmla="*/ 60 w 174"/>
                <a:gd name="T19" fmla="*/ 73 h 124"/>
                <a:gd name="T20" fmla="*/ 60 w 174"/>
                <a:gd name="T21" fmla="*/ 102 h 124"/>
                <a:gd name="T22" fmla="*/ 137 w 174"/>
                <a:gd name="T23" fmla="*/ 102 h 124"/>
                <a:gd name="T24" fmla="*/ 137 w 174"/>
                <a:gd name="T25" fmla="*/ 84 h 124"/>
                <a:gd name="T26" fmla="*/ 174 w 174"/>
                <a:gd name="T27" fmla="*/ 84 h 124"/>
                <a:gd name="T28" fmla="*/ 174 w 174"/>
                <a:gd name="T29" fmla="*/ 124 h 124"/>
                <a:gd name="T30" fmla="*/ 23 w 174"/>
                <a:gd name="T31" fmla="*/ 124 h 124"/>
                <a:gd name="T32" fmla="*/ 23 w 174"/>
                <a:gd name="T33" fmla="*/ 73 h 124"/>
                <a:gd name="T34" fmla="*/ 0 w 174"/>
                <a:gd name="T35" fmla="*/ 73 h 124"/>
                <a:gd name="T36" fmla="*/ 0 w 174"/>
                <a:gd name="T37" fmla="*/ 50 h 124"/>
                <a:gd name="T38" fmla="*/ 23 w 174"/>
                <a:gd name="T39" fmla="*/ 50 h 124"/>
                <a:gd name="T40" fmla="*/ 23 w 174"/>
                <a:gd name="T4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24">
                  <a:moveTo>
                    <a:pt x="23" y="0"/>
                  </a:moveTo>
                  <a:lnTo>
                    <a:pt x="174" y="0"/>
                  </a:lnTo>
                  <a:lnTo>
                    <a:pt x="174" y="41"/>
                  </a:lnTo>
                  <a:lnTo>
                    <a:pt x="137" y="41"/>
                  </a:lnTo>
                  <a:lnTo>
                    <a:pt x="137" y="23"/>
                  </a:lnTo>
                  <a:lnTo>
                    <a:pt x="60" y="23"/>
                  </a:lnTo>
                  <a:lnTo>
                    <a:pt x="60" y="50"/>
                  </a:lnTo>
                  <a:lnTo>
                    <a:pt x="140" y="50"/>
                  </a:lnTo>
                  <a:lnTo>
                    <a:pt x="140" y="73"/>
                  </a:lnTo>
                  <a:lnTo>
                    <a:pt x="60" y="73"/>
                  </a:lnTo>
                  <a:lnTo>
                    <a:pt x="60" y="102"/>
                  </a:lnTo>
                  <a:lnTo>
                    <a:pt x="137" y="102"/>
                  </a:lnTo>
                  <a:lnTo>
                    <a:pt x="137" y="84"/>
                  </a:lnTo>
                  <a:lnTo>
                    <a:pt x="174" y="84"/>
                  </a:lnTo>
                  <a:lnTo>
                    <a:pt x="174"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noEditPoints="1"/>
            </p:cNvSpPr>
            <p:nvPr/>
          </p:nvSpPr>
          <p:spPr bwMode="auto">
            <a:xfrm>
              <a:off x="3370263" y="4683125"/>
              <a:ext cx="300038" cy="196850"/>
            </a:xfrm>
            <a:custGeom>
              <a:avLst/>
              <a:gdLst>
                <a:gd name="T0" fmla="*/ 60 w 189"/>
                <a:gd name="T1" fmla="*/ 23 h 124"/>
                <a:gd name="T2" fmla="*/ 60 w 189"/>
                <a:gd name="T3" fmla="*/ 50 h 124"/>
                <a:gd name="T4" fmla="*/ 124 w 189"/>
                <a:gd name="T5" fmla="*/ 50 h 124"/>
                <a:gd name="T6" fmla="*/ 132 w 189"/>
                <a:gd name="T7" fmla="*/ 50 h 124"/>
                <a:gd name="T8" fmla="*/ 139 w 189"/>
                <a:gd name="T9" fmla="*/ 48 h 124"/>
                <a:gd name="T10" fmla="*/ 144 w 189"/>
                <a:gd name="T11" fmla="*/ 46 h 124"/>
                <a:gd name="T12" fmla="*/ 147 w 189"/>
                <a:gd name="T13" fmla="*/ 43 h 124"/>
                <a:gd name="T14" fmla="*/ 149 w 189"/>
                <a:gd name="T15" fmla="*/ 40 h 124"/>
                <a:gd name="T16" fmla="*/ 149 w 189"/>
                <a:gd name="T17" fmla="*/ 36 h 124"/>
                <a:gd name="T18" fmla="*/ 149 w 189"/>
                <a:gd name="T19" fmla="*/ 33 h 124"/>
                <a:gd name="T20" fmla="*/ 147 w 189"/>
                <a:gd name="T21" fmla="*/ 30 h 124"/>
                <a:gd name="T22" fmla="*/ 144 w 189"/>
                <a:gd name="T23" fmla="*/ 26 h 124"/>
                <a:gd name="T24" fmla="*/ 139 w 189"/>
                <a:gd name="T25" fmla="*/ 25 h 124"/>
                <a:gd name="T26" fmla="*/ 132 w 189"/>
                <a:gd name="T27" fmla="*/ 23 h 124"/>
                <a:gd name="T28" fmla="*/ 124 w 189"/>
                <a:gd name="T29" fmla="*/ 23 h 124"/>
                <a:gd name="T30" fmla="*/ 60 w 189"/>
                <a:gd name="T31" fmla="*/ 23 h 124"/>
                <a:gd name="T32" fmla="*/ 23 w 189"/>
                <a:gd name="T33" fmla="*/ 0 h 124"/>
                <a:gd name="T34" fmla="*/ 121 w 189"/>
                <a:gd name="T35" fmla="*/ 0 h 124"/>
                <a:gd name="T36" fmla="*/ 144 w 189"/>
                <a:gd name="T37" fmla="*/ 2 h 124"/>
                <a:gd name="T38" fmla="*/ 162 w 189"/>
                <a:gd name="T39" fmla="*/ 7 h 124"/>
                <a:gd name="T40" fmla="*/ 175 w 189"/>
                <a:gd name="T41" fmla="*/ 15 h 124"/>
                <a:gd name="T42" fmla="*/ 184 w 189"/>
                <a:gd name="T43" fmla="*/ 25 h 124"/>
                <a:gd name="T44" fmla="*/ 185 w 189"/>
                <a:gd name="T45" fmla="*/ 36 h 124"/>
                <a:gd name="T46" fmla="*/ 184 w 189"/>
                <a:gd name="T47" fmla="*/ 46 h 124"/>
                <a:gd name="T48" fmla="*/ 179 w 189"/>
                <a:gd name="T49" fmla="*/ 54 h 124"/>
                <a:gd name="T50" fmla="*/ 169 w 189"/>
                <a:gd name="T51" fmla="*/ 63 h 124"/>
                <a:gd name="T52" fmla="*/ 156 w 189"/>
                <a:gd name="T53" fmla="*/ 68 h 124"/>
                <a:gd name="T54" fmla="*/ 136 w 189"/>
                <a:gd name="T55" fmla="*/ 71 h 124"/>
                <a:gd name="T56" fmla="*/ 189 w 189"/>
                <a:gd name="T57" fmla="*/ 124 h 124"/>
                <a:gd name="T58" fmla="*/ 146 w 189"/>
                <a:gd name="T59" fmla="*/ 124 h 124"/>
                <a:gd name="T60" fmla="*/ 96 w 189"/>
                <a:gd name="T61" fmla="*/ 73 h 124"/>
                <a:gd name="T62" fmla="*/ 60 w 189"/>
                <a:gd name="T63" fmla="*/ 73 h 124"/>
                <a:gd name="T64" fmla="*/ 60 w 189"/>
                <a:gd name="T65" fmla="*/ 124 h 124"/>
                <a:gd name="T66" fmla="*/ 23 w 189"/>
                <a:gd name="T67" fmla="*/ 124 h 124"/>
                <a:gd name="T68" fmla="*/ 23 w 189"/>
                <a:gd name="T69" fmla="*/ 73 h 124"/>
                <a:gd name="T70" fmla="*/ 0 w 189"/>
                <a:gd name="T71" fmla="*/ 73 h 124"/>
                <a:gd name="T72" fmla="*/ 0 w 189"/>
                <a:gd name="T73" fmla="*/ 50 h 124"/>
                <a:gd name="T74" fmla="*/ 23 w 189"/>
                <a:gd name="T75" fmla="*/ 50 h 124"/>
                <a:gd name="T76" fmla="*/ 23 w 189"/>
                <a:gd name="T7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 h="124">
                  <a:moveTo>
                    <a:pt x="60" y="23"/>
                  </a:moveTo>
                  <a:lnTo>
                    <a:pt x="60" y="50"/>
                  </a:lnTo>
                  <a:lnTo>
                    <a:pt x="124" y="50"/>
                  </a:lnTo>
                  <a:lnTo>
                    <a:pt x="132" y="50"/>
                  </a:lnTo>
                  <a:lnTo>
                    <a:pt x="139" y="48"/>
                  </a:lnTo>
                  <a:lnTo>
                    <a:pt x="144" y="46"/>
                  </a:lnTo>
                  <a:lnTo>
                    <a:pt x="147" y="43"/>
                  </a:lnTo>
                  <a:lnTo>
                    <a:pt x="149" y="40"/>
                  </a:lnTo>
                  <a:lnTo>
                    <a:pt x="149" y="36"/>
                  </a:lnTo>
                  <a:lnTo>
                    <a:pt x="149" y="33"/>
                  </a:lnTo>
                  <a:lnTo>
                    <a:pt x="147" y="30"/>
                  </a:lnTo>
                  <a:lnTo>
                    <a:pt x="144" y="26"/>
                  </a:lnTo>
                  <a:lnTo>
                    <a:pt x="139" y="25"/>
                  </a:lnTo>
                  <a:lnTo>
                    <a:pt x="132" y="23"/>
                  </a:lnTo>
                  <a:lnTo>
                    <a:pt x="124" y="23"/>
                  </a:lnTo>
                  <a:lnTo>
                    <a:pt x="60" y="23"/>
                  </a:lnTo>
                  <a:close/>
                  <a:moveTo>
                    <a:pt x="23" y="0"/>
                  </a:moveTo>
                  <a:lnTo>
                    <a:pt x="121" y="0"/>
                  </a:lnTo>
                  <a:lnTo>
                    <a:pt x="144" y="2"/>
                  </a:lnTo>
                  <a:lnTo>
                    <a:pt x="162" y="7"/>
                  </a:lnTo>
                  <a:lnTo>
                    <a:pt x="175" y="15"/>
                  </a:lnTo>
                  <a:lnTo>
                    <a:pt x="184" y="25"/>
                  </a:lnTo>
                  <a:lnTo>
                    <a:pt x="185" y="36"/>
                  </a:lnTo>
                  <a:lnTo>
                    <a:pt x="184" y="46"/>
                  </a:lnTo>
                  <a:lnTo>
                    <a:pt x="179" y="54"/>
                  </a:lnTo>
                  <a:lnTo>
                    <a:pt x="169" y="63"/>
                  </a:lnTo>
                  <a:lnTo>
                    <a:pt x="156" y="68"/>
                  </a:lnTo>
                  <a:lnTo>
                    <a:pt x="136" y="71"/>
                  </a:lnTo>
                  <a:lnTo>
                    <a:pt x="189" y="124"/>
                  </a:lnTo>
                  <a:lnTo>
                    <a:pt x="146" y="124"/>
                  </a:lnTo>
                  <a:lnTo>
                    <a:pt x="96" y="73"/>
                  </a:lnTo>
                  <a:lnTo>
                    <a:pt x="60" y="73"/>
                  </a:lnTo>
                  <a:lnTo>
                    <a:pt x="60" y="124"/>
                  </a:lnTo>
                  <a:lnTo>
                    <a:pt x="23" y="124"/>
                  </a:lnTo>
                  <a:lnTo>
                    <a:pt x="23" y="73"/>
                  </a:lnTo>
                  <a:lnTo>
                    <a:pt x="0" y="73"/>
                  </a:lnTo>
                  <a:lnTo>
                    <a:pt x="0" y="50"/>
                  </a:lnTo>
                  <a:lnTo>
                    <a:pt x="23" y="50"/>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3727450" y="4679950"/>
              <a:ext cx="334963" cy="204788"/>
            </a:xfrm>
            <a:custGeom>
              <a:avLst/>
              <a:gdLst>
                <a:gd name="T0" fmla="*/ 106 w 211"/>
                <a:gd name="T1" fmla="*/ 0 h 129"/>
                <a:gd name="T2" fmla="*/ 137 w 211"/>
                <a:gd name="T3" fmla="*/ 2 h 129"/>
                <a:gd name="T4" fmla="*/ 165 w 211"/>
                <a:gd name="T5" fmla="*/ 12 h 129"/>
                <a:gd name="T6" fmla="*/ 190 w 211"/>
                <a:gd name="T7" fmla="*/ 25 h 129"/>
                <a:gd name="T8" fmla="*/ 160 w 211"/>
                <a:gd name="T9" fmla="*/ 40 h 129"/>
                <a:gd name="T10" fmla="*/ 145 w 211"/>
                <a:gd name="T11" fmla="*/ 30 h 129"/>
                <a:gd name="T12" fmla="*/ 127 w 211"/>
                <a:gd name="T13" fmla="*/ 24 h 129"/>
                <a:gd name="T14" fmla="*/ 106 w 211"/>
                <a:gd name="T15" fmla="*/ 22 h 129"/>
                <a:gd name="T16" fmla="*/ 84 w 211"/>
                <a:gd name="T17" fmla="*/ 24 h 129"/>
                <a:gd name="T18" fmla="*/ 66 w 211"/>
                <a:gd name="T19" fmla="*/ 30 h 129"/>
                <a:gd name="T20" fmla="*/ 51 w 211"/>
                <a:gd name="T21" fmla="*/ 38 h 129"/>
                <a:gd name="T22" fmla="*/ 41 w 211"/>
                <a:gd name="T23" fmla="*/ 52 h 129"/>
                <a:gd name="T24" fmla="*/ 38 w 211"/>
                <a:gd name="T25" fmla="*/ 65 h 129"/>
                <a:gd name="T26" fmla="*/ 41 w 211"/>
                <a:gd name="T27" fmla="*/ 78 h 129"/>
                <a:gd name="T28" fmla="*/ 51 w 211"/>
                <a:gd name="T29" fmla="*/ 89 h 129"/>
                <a:gd name="T30" fmla="*/ 66 w 211"/>
                <a:gd name="T31" fmla="*/ 99 h 129"/>
                <a:gd name="T32" fmla="*/ 84 w 211"/>
                <a:gd name="T33" fmla="*/ 106 h 129"/>
                <a:gd name="T34" fmla="*/ 106 w 211"/>
                <a:gd name="T35" fmla="*/ 108 h 129"/>
                <a:gd name="T36" fmla="*/ 129 w 211"/>
                <a:gd name="T37" fmla="*/ 106 h 129"/>
                <a:gd name="T38" fmla="*/ 149 w 211"/>
                <a:gd name="T39" fmla="*/ 99 h 129"/>
                <a:gd name="T40" fmla="*/ 163 w 211"/>
                <a:gd name="T41" fmla="*/ 88 h 129"/>
                <a:gd name="T42" fmla="*/ 172 w 211"/>
                <a:gd name="T43" fmla="*/ 75 h 129"/>
                <a:gd name="T44" fmla="*/ 106 w 211"/>
                <a:gd name="T45" fmla="*/ 75 h 129"/>
                <a:gd name="T46" fmla="*/ 106 w 211"/>
                <a:gd name="T47" fmla="*/ 52 h 129"/>
                <a:gd name="T48" fmla="*/ 211 w 211"/>
                <a:gd name="T49" fmla="*/ 52 h 129"/>
                <a:gd name="T50" fmla="*/ 211 w 211"/>
                <a:gd name="T51" fmla="*/ 68 h 129"/>
                <a:gd name="T52" fmla="*/ 210 w 211"/>
                <a:gd name="T53" fmla="*/ 78 h 129"/>
                <a:gd name="T54" fmla="*/ 203 w 211"/>
                <a:gd name="T55" fmla="*/ 89 h 129"/>
                <a:gd name="T56" fmla="*/ 193 w 211"/>
                <a:gd name="T57" fmla="*/ 101 h 129"/>
                <a:gd name="T58" fmla="*/ 180 w 211"/>
                <a:gd name="T59" fmla="*/ 111 h 129"/>
                <a:gd name="T60" fmla="*/ 160 w 211"/>
                <a:gd name="T61" fmla="*/ 121 h 129"/>
                <a:gd name="T62" fmla="*/ 135 w 211"/>
                <a:gd name="T63" fmla="*/ 127 h 129"/>
                <a:gd name="T64" fmla="*/ 106 w 211"/>
                <a:gd name="T65" fmla="*/ 129 h 129"/>
                <a:gd name="T66" fmla="*/ 71 w 211"/>
                <a:gd name="T67" fmla="*/ 126 h 129"/>
                <a:gd name="T68" fmla="*/ 43 w 211"/>
                <a:gd name="T69" fmla="*/ 117 h 129"/>
                <a:gd name="T70" fmla="*/ 20 w 211"/>
                <a:gd name="T71" fmla="*/ 103 h 129"/>
                <a:gd name="T72" fmla="*/ 5 w 211"/>
                <a:gd name="T73" fmla="*/ 84 h 129"/>
                <a:gd name="T74" fmla="*/ 0 w 211"/>
                <a:gd name="T75" fmla="*/ 65 h 129"/>
                <a:gd name="T76" fmla="*/ 5 w 211"/>
                <a:gd name="T77" fmla="*/ 43 h 129"/>
                <a:gd name="T78" fmla="*/ 20 w 211"/>
                <a:gd name="T79" fmla="*/ 27 h 129"/>
                <a:gd name="T80" fmla="*/ 43 w 211"/>
                <a:gd name="T81" fmla="*/ 12 h 129"/>
                <a:gd name="T82" fmla="*/ 71 w 211"/>
                <a:gd name="T83" fmla="*/ 4 h 129"/>
                <a:gd name="T84" fmla="*/ 106 w 211"/>
                <a:gd name="T85"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1" h="129">
                  <a:moveTo>
                    <a:pt x="106" y="0"/>
                  </a:moveTo>
                  <a:lnTo>
                    <a:pt x="137" y="2"/>
                  </a:lnTo>
                  <a:lnTo>
                    <a:pt x="165" y="12"/>
                  </a:lnTo>
                  <a:lnTo>
                    <a:pt x="190" y="25"/>
                  </a:lnTo>
                  <a:lnTo>
                    <a:pt x="160" y="40"/>
                  </a:lnTo>
                  <a:lnTo>
                    <a:pt x="145" y="30"/>
                  </a:lnTo>
                  <a:lnTo>
                    <a:pt x="127" y="24"/>
                  </a:lnTo>
                  <a:lnTo>
                    <a:pt x="106" y="22"/>
                  </a:lnTo>
                  <a:lnTo>
                    <a:pt x="84" y="24"/>
                  </a:lnTo>
                  <a:lnTo>
                    <a:pt x="66" y="30"/>
                  </a:lnTo>
                  <a:lnTo>
                    <a:pt x="51" y="38"/>
                  </a:lnTo>
                  <a:lnTo>
                    <a:pt x="41" y="52"/>
                  </a:lnTo>
                  <a:lnTo>
                    <a:pt x="38" y="65"/>
                  </a:lnTo>
                  <a:lnTo>
                    <a:pt x="41" y="78"/>
                  </a:lnTo>
                  <a:lnTo>
                    <a:pt x="51" y="89"/>
                  </a:lnTo>
                  <a:lnTo>
                    <a:pt x="66" y="99"/>
                  </a:lnTo>
                  <a:lnTo>
                    <a:pt x="84" y="106"/>
                  </a:lnTo>
                  <a:lnTo>
                    <a:pt x="106" y="108"/>
                  </a:lnTo>
                  <a:lnTo>
                    <a:pt x="129" y="106"/>
                  </a:lnTo>
                  <a:lnTo>
                    <a:pt x="149" y="99"/>
                  </a:lnTo>
                  <a:lnTo>
                    <a:pt x="163" y="88"/>
                  </a:lnTo>
                  <a:lnTo>
                    <a:pt x="172" y="75"/>
                  </a:lnTo>
                  <a:lnTo>
                    <a:pt x="106" y="75"/>
                  </a:lnTo>
                  <a:lnTo>
                    <a:pt x="106" y="52"/>
                  </a:lnTo>
                  <a:lnTo>
                    <a:pt x="211" y="52"/>
                  </a:lnTo>
                  <a:lnTo>
                    <a:pt x="211" y="68"/>
                  </a:lnTo>
                  <a:lnTo>
                    <a:pt x="210" y="78"/>
                  </a:lnTo>
                  <a:lnTo>
                    <a:pt x="203" y="89"/>
                  </a:lnTo>
                  <a:lnTo>
                    <a:pt x="193" y="101"/>
                  </a:lnTo>
                  <a:lnTo>
                    <a:pt x="180" y="111"/>
                  </a:lnTo>
                  <a:lnTo>
                    <a:pt x="160" y="121"/>
                  </a:lnTo>
                  <a:lnTo>
                    <a:pt x="135" y="127"/>
                  </a:lnTo>
                  <a:lnTo>
                    <a:pt x="106" y="129"/>
                  </a:lnTo>
                  <a:lnTo>
                    <a:pt x="71" y="126"/>
                  </a:lnTo>
                  <a:lnTo>
                    <a:pt x="43" y="117"/>
                  </a:lnTo>
                  <a:lnTo>
                    <a:pt x="20" y="103"/>
                  </a:lnTo>
                  <a:lnTo>
                    <a:pt x="5" y="84"/>
                  </a:lnTo>
                  <a:lnTo>
                    <a:pt x="0" y="65"/>
                  </a:lnTo>
                  <a:lnTo>
                    <a:pt x="5" y="43"/>
                  </a:lnTo>
                  <a:lnTo>
                    <a:pt x="20" y="27"/>
                  </a:lnTo>
                  <a:lnTo>
                    <a:pt x="43" y="12"/>
                  </a:lnTo>
                  <a:lnTo>
                    <a:pt x="71" y="4"/>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p:cNvSpPr>
            <p:nvPr/>
          </p:nvSpPr>
          <p:spPr bwMode="auto">
            <a:xfrm>
              <a:off x="4086225" y="4683125"/>
              <a:ext cx="284163" cy="196850"/>
            </a:xfrm>
            <a:custGeom>
              <a:avLst/>
              <a:gdLst>
                <a:gd name="T0" fmla="*/ 0 w 179"/>
                <a:gd name="T1" fmla="*/ 0 h 124"/>
                <a:gd name="T2" fmla="*/ 43 w 179"/>
                <a:gd name="T3" fmla="*/ 0 h 124"/>
                <a:gd name="T4" fmla="*/ 89 w 179"/>
                <a:gd name="T5" fmla="*/ 50 h 124"/>
                <a:gd name="T6" fmla="*/ 137 w 179"/>
                <a:gd name="T7" fmla="*/ 0 h 124"/>
                <a:gd name="T8" fmla="*/ 179 w 179"/>
                <a:gd name="T9" fmla="*/ 0 h 124"/>
                <a:gd name="T10" fmla="*/ 108 w 179"/>
                <a:gd name="T11" fmla="*/ 69 h 124"/>
                <a:gd name="T12" fmla="*/ 108 w 179"/>
                <a:gd name="T13" fmla="*/ 124 h 124"/>
                <a:gd name="T14" fmla="*/ 71 w 179"/>
                <a:gd name="T15" fmla="*/ 124 h 124"/>
                <a:gd name="T16" fmla="*/ 71 w 179"/>
                <a:gd name="T17" fmla="*/ 69 h 124"/>
                <a:gd name="T18" fmla="*/ 0 w 179"/>
                <a:gd name="T1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24">
                  <a:moveTo>
                    <a:pt x="0" y="0"/>
                  </a:moveTo>
                  <a:lnTo>
                    <a:pt x="43" y="0"/>
                  </a:lnTo>
                  <a:lnTo>
                    <a:pt x="89" y="50"/>
                  </a:lnTo>
                  <a:lnTo>
                    <a:pt x="137" y="0"/>
                  </a:lnTo>
                  <a:lnTo>
                    <a:pt x="179" y="0"/>
                  </a:lnTo>
                  <a:lnTo>
                    <a:pt x="108" y="69"/>
                  </a:lnTo>
                  <a:lnTo>
                    <a:pt x="108" y="124"/>
                  </a:lnTo>
                  <a:lnTo>
                    <a:pt x="71" y="124"/>
                  </a:lnTo>
                  <a:lnTo>
                    <a:pt x="71" y="69"/>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noEditPoints="1"/>
            </p:cNvSpPr>
            <p:nvPr/>
          </p:nvSpPr>
          <p:spPr bwMode="auto">
            <a:xfrm>
              <a:off x="2293938" y="4405313"/>
              <a:ext cx="379413" cy="225425"/>
            </a:xfrm>
            <a:custGeom>
              <a:avLst/>
              <a:gdLst>
                <a:gd name="T0" fmla="*/ 105 w 239"/>
                <a:gd name="T1" fmla="*/ 40 h 142"/>
                <a:gd name="T2" fmla="*/ 76 w 239"/>
                <a:gd name="T3" fmla="*/ 94 h 142"/>
                <a:gd name="T4" fmla="*/ 132 w 239"/>
                <a:gd name="T5" fmla="*/ 94 h 142"/>
                <a:gd name="T6" fmla="*/ 105 w 239"/>
                <a:gd name="T7" fmla="*/ 40 h 142"/>
                <a:gd name="T8" fmla="*/ 86 w 239"/>
                <a:gd name="T9" fmla="*/ 0 h 142"/>
                <a:gd name="T10" fmla="*/ 160 w 239"/>
                <a:gd name="T11" fmla="*/ 0 h 142"/>
                <a:gd name="T12" fmla="*/ 239 w 239"/>
                <a:gd name="T13" fmla="*/ 141 h 142"/>
                <a:gd name="T14" fmla="*/ 239 w 239"/>
                <a:gd name="T15" fmla="*/ 142 h 142"/>
                <a:gd name="T16" fmla="*/ 158 w 239"/>
                <a:gd name="T17" fmla="*/ 142 h 142"/>
                <a:gd name="T18" fmla="*/ 143 w 239"/>
                <a:gd name="T19" fmla="*/ 117 h 142"/>
                <a:gd name="T20" fmla="*/ 64 w 239"/>
                <a:gd name="T21" fmla="*/ 117 h 142"/>
                <a:gd name="T22" fmla="*/ 51 w 239"/>
                <a:gd name="T23" fmla="*/ 142 h 142"/>
                <a:gd name="T24" fmla="*/ 0 w 239"/>
                <a:gd name="T25" fmla="*/ 142 h 142"/>
                <a:gd name="T26" fmla="*/ 0 w 239"/>
                <a:gd name="T27" fmla="*/ 141 h 142"/>
                <a:gd name="T28" fmla="*/ 86 w 239"/>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142">
                  <a:moveTo>
                    <a:pt x="105" y="40"/>
                  </a:moveTo>
                  <a:lnTo>
                    <a:pt x="76" y="94"/>
                  </a:lnTo>
                  <a:lnTo>
                    <a:pt x="132" y="94"/>
                  </a:lnTo>
                  <a:lnTo>
                    <a:pt x="105" y="40"/>
                  </a:lnTo>
                  <a:close/>
                  <a:moveTo>
                    <a:pt x="86" y="0"/>
                  </a:moveTo>
                  <a:lnTo>
                    <a:pt x="160" y="0"/>
                  </a:lnTo>
                  <a:lnTo>
                    <a:pt x="239" y="141"/>
                  </a:lnTo>
                  <a:lnTo>
                    <a:pt x="239" y="142"/>
                  </a:lnTo>
                  <a:lnTo>
                    <a:pt x="158" y="142"/>
                  </a:lnTo>
                  <a:lnTo>
                    <a:pt x="143" y="117"/>
                  </a:lnTo>
                  <a:lnTo>
                    <a:pt x="64" y="117"/>
                  </a:lnTo>
                  <a:lnTo>
                    <a:pt x="51" y="142"/>
                  </a:lnTo>
                  <a:lnTo>
                    <a:pt x="0" y="142"/>
                  </a:lnTo>
                  <a:lnTo>
                    <a:pt x="0" y="141"/>
                  </a:lnTo>
                  <a:lnTo>
                    <a:pt x="8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2705100" y="4405313"/>
              <a:ext cx="341313" cy="236538"/>
            </a:xfrm>
            <a:custGeom>
              <a:avLst/>
              <a:gdLst>
                <a:gd name="T0" fmla="*/ 0 w 215"/>
                <a:gd name="T1" fmla="*/ 0 h 149"/>
                <a:gd name="T2" fmla="*/ 73 w 215"/>
                <a:gd name="T3" fmla="*/ 0 h 149"/>
                <a:gd name="T4" fmla="*/ 73 w 215"/>
                <a:gd name="T5" fmla="*/ 5 h 149"/>
                <a:gd name="T6" fmla="*/ 73 w 215"/>
                <a:gd name="T7" fmla="*/ 17 h 149"/>
                <a:gd name="T8" fmla="*/ 73 w 215"/>
                <a:gd name="T9" fmla="*/ 33 h 149"/>
                <a:gd name="T10" fmla="*/ 73 w 215"/>
                <a:gd name="T11" fmla="*/ 52 h 149"/>
                <a:gd name="T12" fmla="*/ 73 w 215"/>
                <a:gd name="T13" fmla="*/ 71 h 149"/>
                <a:gd name="T14" fmla="*/ 73 w 215"/>
                <a:gd name="T15" fmla="*/ 86 h 149"/>
                <a:gd name="T16" fmla="*/ 73 w 215"/>
                <a:gd name="T17" fmla="*/ 96 h 149"/>
                <a:gd name="T18" fmla="*/ 74 w 215"/>
                <a:gd name="T19" fmla="*/ 108 h 149"/>
                <a:gd name="T20" fmla="*/ 79 w 215"/>
                <a:gd name="T21" fmla="*/ 116 h 149"/>
                <a:gd name="T22" fmla="*/ 91 w 215"/>
                <a:gd name="T23" fmla="*/ 122 h 149"/>
                <a:gd name="T24" fmla="*/ 106 w 215"/>
                <a:gd name="T25" fmla="*/ 124 h 149"/>
                <a:gd name="T26" fmla="*/ 122 w 215"/>
                <a:gd name="T27" fmla="*/ 122 h 149"/>
                <a:gd name="T28" fmla="*/ 134 w 215"/>
                <a:gd name="T29" fmla="*/ 116 h 149"/>
                <a:gd name="T30" fmla="*/ 139 w 215"/>
                <a:gd name="T31" fmla="*/ 108 h 149"/>
                <a:gd name="T32" fmla="*/ 140 w 215"/>
                <a:gd name="T33" fmla="*/ 96 h 149"/>
                <a:gd name="T34" fmla="*/ 140 w 215"/>
                <a:gd name="T35" fmla="*/ 86 h 149"/>
                <a:gd name="T36" fmla="*/ 140 w 215"/>
                <a:gd name="T37" fmla="*/ 71 h 149"/>
                <a:gd name="T38" fmla="*/ 140 w 215"/>
                <a:gd name="T39" fmla="*/ 52 h 149"/>
                <a:gd name="T40" fmla="*/ 140 w 215"/>
                <a:gd name="T41" fmla="*/ 33 h 149"/>
                <a:gd name="T42" fmla="*/ 140 w 215"/>
                <a:gd name="T43" fmla="*/ 17 h 149"/>
                <a:gd name="T44" fmla="*/ 140 w 215"/>
                <a:gd name="T45" fmla="*/ 5 h 149"/>
                <a:gd name="T46" fmla="*/ 140 w 215"/>
                <a:gd name="T47" fmla="*/ 0 h 149"/>
                <a:gd name="T48" fmla="*/ 215 w 215"/>
                <a:gd name="T49" fmla="*/ 0 h 149"/>
                <a:gd name="T50" fmla="*/ 215 w 215"/>
                <a:gd name="T51" fmla="*/ 5 h 149"/>
                <a:gd name="T52" fmla="*/ 215 w 215"/>
                <a:gd name="T53" fmla="*/ 17 h 149"/>
                <a:gd name="T54" fmla="*/ 215 w 215"/>
                <a:gd name="T55" fmla="*/ 83 h 149"/>
                <a:gd name="T56" fmla="*/ 210 w 215"/>
                <a:gd name="T57" fmla="*/ 103 h 149"/>
                <a:gd name="T58" fmla="*/ 200 w 215"/>
                <a:gd name="T59" fmla="*/ 119 h 149"/>
                <a:gd name="T60" fmla="*/ 183 w 215"/>
                <a:gd name="T61" fmla="*/ 132 h 149"/>
                <a:gd name="T62" fmla="*/ 162 w 215"/>
                <a:gd name="T63" fmla="*/ 141 h 149"/>
                <a:gd name="T64" fmla="*/ 135 w 215"/>
                <a:gd name="T65" fmla="*/ 147 h 149"/>
                <a:gd name="T66" fmla="*/ 106 w 215"/>
                <a:gd name="T67" fmla="*/ 149 h 149"/>
                <a:gd name="T68" fmla="*/ 78 w 215"/>
                <a:gd name="T69" fmla="*/ 147 h 149"/>
                <a:gd name="T70" fmla="*/ 51 w 215"/>
                <a:gd name="T71" fmla="*/ 141 h 149"/>
                <a:gd name="T72" fmla="*/ 30 w 215"/>
                <a:gd name="T73" fmla="*/ 132 h 149"/>
                <a:gd name="T74" fmla="*/ 13 w 215"/>
                <a:gd name="T75" fmla="*/ 119 h 149"/>
                <a:gd name="T76" fmla="*/ 3 w 215"/>
                <a:gd name="T77" fmla="*/ 103 h 149"/>
                <a:gd name="T78" fmla="*/ 0 w 215"/>
                <a:gd name="T79" fmla="*/ 83 h 149"/>
                <a:gd name="T80" fmla="*/ 0 w 215"/>
                <a:gd name="T81" fmla="*/ 33 h 149"/>
                <a:gd name="T82" fmla="*/ 0 w 215"/>
                <a:gd name="T83" fmla="*/ 17 h 149"/>
                <a:gd name="T84" fmla="*/ 0 w 215"/>
                <a:gd name="T85" fmla="*/ 5 h 149"/>
                <a:gd name="T86" fmla="*/ 0 w 215"/>
                <a:gd name="T87"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149">
                  <a:moveTo>
                    <a:pt x="0" y="0"/>
                  </a:moveTo>
                  <a:lnTo>
                    <a:pt x="73" y="0"/>
                  </a:lnTo>
                  <a:lnTo>
                    <a:pt x="73" y="5"/>
                  </a:lnTo>
                  <a:lnTo>
                    <a:pt x="73" y="17"/>
                  </a:lnTo>
                  <a:lnTo>
                    <a:pt x="73" y="33"/>
                  </a:lnTo>
                  <a:lnTo>
                    <a:pt x="73" y="52"/>
                  </a:lnTo>
                  <a:lnTo>
                    <a:pt x="73" y="71"/>
                  </a:lnTo>
                  <a:lnTo>
                    <a:pt x="73" y="86"/>
                  </a:lnTo>
                  <a:lnTo>
                    <a:pt x="73" y="96"/>
                  </a:lnTo>
                  <a:lnTo>
                    <a:pt x="74" y="108"/>
                  </a:lnTo>
                  <a:lnTo>
                    <a:pt x="79" y="116"/>
                  </a:lnTo>
                  <a:lnTo>
                    <a:pt x="91" y="122"/>
                  </a:lnTo>
                  <a:lnTo>
                    <a:pt x="106" y="124"/>
                  </a:lnTo>
                  <a:lnTo>
                    <a:pt x="122" y="122"/>
                  </a:lnTo>
                  <a:lnTo>
                    <a:pt x="134" y="116"/>
                  </a:lnTo>
                  <a:lnTo>
                    <a:pt x="139" y="108"/>
                  </a:lnTo>
                  <a:lnTo>
                    <a:pt x="140" y="96"/>
                  </a:lnTo>
                  <a:lnTo>
                    <a:pt x="140" y="86"/>
                  </a:lnTo>
                  <a:lnTo>
                    <a:pt x="140" y="71"/>
                  </a:lnTo>
                  <a:lnTo>
                    <a:pt x="140" y="52"/>
                  </a:lnTo>
                  <a:lnTo>
                    <a:pt x="140" y="33"/>
                  </a:lnTo>
                  <a:lnTo>
                    <a:pt x="140" y="17"/>
                  </a:lnTo>
                  <a:lnTo>
                    <a:pt x="140" y="5"/>
                  </a:lnTo>
                  <a:lnTo>
                    <a:pt x="140" y="0"/>
                  </a:lnTo>
                  <a:lnTo>
                    <a:pt x="215" y="0"/>
                  </a:lnTo>
                  <a:lnTo>
                    <a:pt x="215" y="5"/>
                  </a:lnTo>
                  <a:lnTo>
                    <a:pt x="215" y="17"/>
                  </a:lnTo>
                  <a:lnTo>
                    <a:pt x="215" y="83"/>
                  </a:lnTo>
                  <a:lnTo>
                    <a:pt x="210" y="103"/>
                  </a:lnTo>
                  <a:lnTo>
                    <a:pt x="200" y="119"/>
                  </a:lnTo>
                  <a:lnTo>
                    <a:pt x="183" y="132"/>
                  </a:lnTo>
                  <a:lnTo>
                    <a:pt x="162" y="141"/>
                  </a:lnTo>
                  <a:lnTo>
                    <a:pt x="135" y="147"/>
                  </a:lnTo>
                  <a:lnTo>
                    <a:pt x="106" y="149"/>
                  </a:lnTo>
                  <a:lnTo>
                    <a:pt x="78" y="147"/>
                  </a:lnTo>
                  <a:lnTo>
                    <a:pt x="51" y="141"/>
                  </a:lnTo>
                  <a:lnTo>
                    <a:pt x="30" y="132"/>
                  </a:lnTo>
                  <a:lnTo>
                    <a:pt x="13" y="119"/>
                  </a:lnTo>
                  <a:lnTo>
                    <a:pt x="3" y="103"/>
                  </a:lnTo>
                  <a:lnTo>
                    <a:pt x="0" y="83"/>
                  </a:lnTo>
                  <a:lnTo>
                    <a:pt x="0" y="33"/>
                  </a:lnTo>
                  <a:lnTo>
                    <a:pt x="0" y="17"/>
                  </a:lnTo>
                  <a:lnTo>
                    <a:pt x="0" y="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3108325" y="4398963"/>
              <a:ext cx="328613" cy="239713"/>
            </a:xfrm>
            <a:custGeom>
              <a:avLst/>
              <a:gdLst>
                <a:gd name="T0" fmla="*/ 104 w 207"/>
                <a:gd name="T1" fmla="*/ 0 h 151"/>
                <a:gd name="T2" fmla="*/ 132 w 207"/>
                <a:gd name="T3" fmla="*/ 1 h 151"/>
                <a:gd name="T4" fmla="*/ 157 w 207"/>
                <a:gd name="T5" fmla="*/ 6 h 151"/>
                <a:gd name="T6" fmla="*/ 177 w 207"/>
                <a:gd name="T7" fmla="*/ 13 h 151"/>
                <a:gd name="T8" fmla="*/ 195 w 207"/>
                <a:gd name="T9" fmla="*/ 23 h 151"/>
                <a:gd name="T10" fmla="*/ 167 w 207"/>
                <a:gd name="T11" fmla="*/ 39 h 151"/>
                <a:gd name="T12" fmla="*/ 147 w 207"/>
                <a:gd name="T13" fmla="*/ 29 h 151"/>
                <a:gd name="T14" fmla="*/ 126 w 207"/>
                <a:gd name="T15" fmla="*/ 24 h 151"/>
                <a:gd name="T16" fmla="*/ 106 w 207"/>
                <a:gd name="T17" fmla="*/ 23 h 151"/>
                <a:gd name="T18" fmla="*/ 93 w 207"/>
                <a:gd name="T19" fmla="*/ 23 h 151"/>
                <a:gd name="T20" fmla="*/ 81 w 207"/>
                <a:gd name="T21" fmla="*/ 24 h 151"/>
                <a:gd name="T22" fmla="*/ 73 w 207"/>
                <a:gd name="T23" fmla="*/ 29 h 151"/>
                <a:gd name="T24" fmla="*/ 70 w 207"/>
                <a:gd name="T25" fmla="*/ 34 h 151"/>
                <a:gd name="T26" fmla="*/ 73 w 207"/>
                <a:gd name="T27" fmla="*/ 41 h 151"/>
                <a:gd name="T28" fmla="*/ 86 w 207"/>
                <a:gd name="T29" fmla="*/ 44 h 151"/>
                <a:gd name="T30" fmla="*/ 104 w 207"/>
                <a:gd name="T31" fmla="*/ 49 h 151"/>
                <a:gd name="T32" fmla="*/ 129 w 207"/>
                <a:gd name="T33" fmla="*/ 52 h 151"/>
                <a:gd name="T34" fmla="*/ 146 w 207"/>
                <a:gd name="T35" fmla="*/ 57 h 151"/>
                <a:gd name="T36" fmla="*/ 164 w 207"/>
                <a:gd name="T37" fmla="*/ 62 h 151"/>
                <a:gd name="T38" fmla="*/ 180 w 207"/>
                <a:gd name="T39" fmla="*/ 69 h 151"/>
                <a:gd name="T40" fmla="*/ 193 w 207"/>
                <a:gd name="T41" fmla="*/ 77 h 151"/>
                <a:gd name="T42" fmla="*/ 203 w 207"/>
                <a:gd name="T43" fmla="*/ 88 h 151"/>
                <a:gd name="T44" fmla="*/ 207 w 207"/>
                <a:gd name="T45" fmla="*/ 102 h 151"/>
                <a:gd name="T46" fmla="*/ 203 w 207"/>
                <a:gd name="T47" fmla="*/ 118 h 151"/>
                <a:gd name="T48" fmla="*/ 192 w 207"/>
                <a:gd name="T49" fmla="*/ 130 h 151"/>
                <a:gd name="T50" fmla="*/ 175 w 207"/>
                <a:gd name="T51" fmla="*/ 140 h 151"/>
                <a:gd name="T52" fmla="*/ 152 w 207"/>
                <a:gd name="T53" fmla="*/ 146 h 151"/>
                <a:gd name="T54" fmla="*/ 127 w 207"/>
                <a:gd name="T55" fmla="*/ 149 h 151"/>
                <a:gd name="T56" fmla="*/ 101 w 207"/>
                <a:gd name="T57" fmla="*/ 151 h 151"/>
                <a:gd name="T58" fmla="*/ 71 w 207"/>
                <a:gd name="T59" fmla="*/ 149 h 151"/>
                <a:gd name="T60" fmla="*/ 46 w 207"/>
                <a:gd name="T61" fmla="*/ 145 h 151"/>
                <a:gd name="T62" fmla="*/ 25 w 207"/>
                <a:gd name="T63" fmla="*/ 138 h 151"/>
                <a:gd name="T64" fmla="*/ 10 w 207"/>
                <a:gd name="T65" fmla="*/ 131 h 151"/>
                <a:gd name="T66" fmla="*/ 0 w 207"/>
                <a:gd name="T67" fmla="*/ 123 h 151"/>
                <a:gd name="T68" fmla="*/ 28 w 207"/>
                <a:gd name="T69" fmla="*/ 107 h 151"/>
                <a:gd name="T70" fmla="*/ 48 w 207"/>
                <a:gd name="T71" fmla="*/ 116 h 151"/>
                <a:gd name="T72" fmla="*/ 75 w 207"/>
                <a:gd name="T73" fmla="*/ 125 h 151"/>
                <a:gd name="T74" fmla="*/ 101 w 207"/>
                <a:gd name="T75" fmla="*/ 128 h 151"/>
                <a:gd name="T76" fmla="*/ 113 w 207"/>
                <a:gd name="T77" fmla="*/ 128 h 151"/>
                <a:gd name="T78" fmla="*/ 124 w 207"/>
                <a:gd name="T79" fmla="*/ 126 h 151"/>
                <a:gd name="T80" fmla="*/ 134 w 207"/>
                <a:gd name="T81" fmla="*/ 123 h 151"/>
                <a:gd name="T82" fmla="*/ 137 w 207"/>
                <a:gd name="T83" fmla="*/ 118 h 151"/>
                <a:gd name="T84" fmla="*/ 134 w 207"/>
                <a:gd name="T85" fmla="*/ 112 h 151"/>
                <a:gd name="T86" fmla="*/ 126 w 207"/>
                <a:gd name="T87" fmla="*/ 107 h 151"/>
                <a:gd name="T88" fmla="*/ 113 w 207"/>
                <a:gd name="T89" fmla="*/ 103 h 151"/>
                <a:gd name="T90" fmla="*/ 98 w 207"/>
                <a:gd name="T91" fmla="*/ 100 h 151"/>
                <a:gd name="T92" fmla="*/ 79 w 207"/>
                <a:gd name="T93" fmla="*/ 97 h 151"/>
                <a:gd name="T94" fmla="*/ 65 w 207"/>
                <a:gd name="T95" fmla="*/ 93 h 151"/>
                <a:gd name="T96" fmla="*/ 48 w 207"/>
                <a:gd name="T97" fmla="*/ 88 h 151"/>
                <a:gd name="T98" fmla="*/ 32 w 207"/>
                <a:gd name="T99" fmla="*/ 84 h 151"/>
                <a:gd name="T100" fmla="*/ 17 w 207"/>
                <a:gd name="T101" fmla="*/ 75 h 151"/>
                <a:gd name="T102" fmla="*/ 7 w 207"/>
                <a:gd name="T103" fmla="*/ 64 h 151"/>
                <a:gd name="T104" fmla="*/ 4 w 207"/>
                <a:gd name="T105" fmla="*/ 51 h 151"/>
                <a:gd name="T106" fmla="*/ 7 w 207"/>
                <a:gd name="T107" fmla="*/ 34 h 151"/>
                <a:gd name="T108" fmla="*/ 17 w 207"/>
                <a:gd name="T109" fmla="*/ 23 h 151"/>
                <a:gd name="T110" fmla="*/ 30 w 207"/>
                <a:gd name="T111" fmla="*/ 14 h 151"/>
                <a:gd name="T112" fmla="*/ 48 w 207"/>
                <a:gd name="T113" fmla="*/ 8 h 151"/>
                <a:gd name="T114" fmla="*/ 66 w 207"/>
                <a:gd name="T115" fmla="*/ 3 h 151"/>
                <a:gd name="T116" fmla="*/ 86 w 207"/>
                <a:gd name="T117" fmla="*/ 1 h 151"/>
                <a:gd name="T118" fmla="*/ 104 w 207"/>
                <a:gd name="T11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7" h="151">
                  <a:moveTo>
                    <a:pt x="104" y="0"/>
                  </a:moveTo>
                  <a:lnTo>
                    <a:pt x="132" y="1"/>
                  </a:lnTo>
                  <a:lnTo>
                    <a:pt x="157" y="6"/>
                  </a:lnTo>
                  <a:lnTo>
                    <a:pt x="177" y="13"/>
                  </a:lnTo>
                  <a:lnTo>
                    <a:pt x="195" y="23"/>
                  </a:lnTo>
                  <a:lnTo>
                    <a:pt x="167" y="39"/>
                  </a:lnTo>
                  <a:lnTo>
                    <a:pt x="147" y="29"/>
                  </a:lnTo>
                  <a:lnTo>
                    <a:pt x="126" y="24"/>
                  </a:lnTo>
                  <a:lnTo>
                    <a:pt x="106" y="23"/>
                  </a:lnTo>
                  <a:lnTo>
                    <a:pt x="93" y="23"/>
                  </a:lnTo>
                  <a:lnTo>
                    <a:pt x="81" y="24"/>
                  </a:lnTo>
                  <a:lnTo>
                    <a:pt x="73" y="29"/>
                  </a:lnTo>
                  <a:lnTo>
                    <a:pt x="70" y="34"/>
                  </a:lnTo>
                  <a:lnTo>
                    <a:pt x="73" y="41"/>
                  </a:lnTo>
                  <a:lnTo>
                    <a:pt x="86" y="44"/>
                  </a:lnTo>
                  <a:lnTo>
                    <a:pt x="104" y="49"/>
                  </a:lnTo>
                  <a:lnTo>
                    <a:pt x="129" y="52"/>
                  </a:lnTo>
                  <a:lnTo>
                    <a:pt x="146" y="57"/>
                  </a:lnTo>
                  <a:lnTo>
                    <a:pt x="164" y="62"/>
                  </a:lnTo>
                  <a:lnTo>
                    <a:pt x="180" y="69"/>
                  </a:lnTo>
                  <a:lnTo>
                    <a:pt x="193" y="77"/>
                  </a:lnTo>
                  <a:lnTo>
                    <a:pt x="203" y="88"/>
                  </a:lnTo>
                  <a:lnTo>
                    <a:pt x="207" y="102"/>
                  </a:lnTo>
                  <a:lnTo>
                    <a:pt x="203" y="118"/>
                  </a:lnTo>
                  <a:lnTo>
                    <a:pt x="192" y="130"/>
                  </a:lnTo>
                  <a:lnTo>
                    <a:pt x="175" y="140"/>
                  </a:lnTo>
                  <a:lnTo>
                    <a:pt x="152" y="146"/>
                  </a:lnTo>
                  <a:lnTo>
                    <a:pt x="127" y="149"/>
                  </a:lnTo>
                  <a:lnTo>
                    <a:pt x="101" y="151"/>
                  </a:lnTo>
                  <a:lnTo>
                    <a:pt x="71" y="149"/>
                  </a:lnTo>
                  <a:lnTo>
                    <a:pt x="46" y="145"/>
                  </a:lnTo>
                  <a:lnTo>
                    <a:pt x="25" y="138"/>
                  </a:lnTo>
                  <a:lnTo>
                    <a:pt x="10" y="131"/>
                  </a:lnTo>
                  <a:lnTo>
                    <a:pt x="0" y="123"/>
                  </a:lnTo>
                  <a:lnTo>
                    <a:pt x="28" y="107"/>
                  </a:lnTo>
                  <a:lnTo>
                    <a:pt x="48" y="116"/>
                  </a:lnTo>
                  <a:lnTo>
                    <a:pt x="75" y="125"/>
                  </a:lnTo>
                  <a:lnTo>
                    <a:pt x="101" y="128"/>
                  </a:lnTo>
                  <a:lnTo>
                    <a:pt x="113" y="128"/>
                  </a:lnTo>
                  <a:lnTo>
                    <a:pt x="124" y="126"/>
                  </a:lnTo>
                  <a:lnTo>
                    <a:pt x="134" y="123"/>
                  </a:lnTo>
                  <a:lnTo>
                    <a:pt x="137" y="118"/>
                  </a:lnTo>
                  <a:lnTo>
                    <a:pt x="134" y="112"/>
                  </a:lnTo>
                  <a:lnTo>
                    <a:pt x="126" y="107"/>
                  </a:lnTo>
                  <a:lnTo>
                    <a:pt x="113" y="103"/>
                  </a:lnTo>
                  <a:lnTo>
                    <a:pt x="98" y="100"/>
                  </a:lnTo>
                  <a:lnTo>
                    <a:pt x="79" y="97"/>
                  </a:lnTo>
                  <a:lnTo>
                    <a:pt x="65" y="93"/>
                  </a:lnTo>
                  <a:lnTo>
                    <a:pt x="48" y="88"/>
                  </a:lnTo>
                  <a:lnTo>
                    <a:pt x="32" y="84"/>
                  </a:lnTo>
                  <a:lnTo>
                    <a:pt x="17" y="75"/>
                  </a:lnTo>
                  <a:lnTo>
                    <a:pt x="7" y="64"/>
                  </a:lnTo>
                  <a:lnTo>
                    <a:pt x="4" y="51"/>
                  </a:lnTo>
                  <a:lnTo>
                    <a:pt x="7" y="34"/>
                  </a:lnTo>
                  <a:lnTo>
                    <a:pt x="17" y="23"/>
                  </a:lnTo>
                  <a:lnTo>
                    <a:pt x="30" y="14"/>
                  </a:lnTo>
                  <a:lnTo>
                    <a:pt x="48" y="8"/>
                  </a:lnTo>
                  <a:lnTo>
                    <a:pt x="66" y="3"/>
                  </a:lnTo>
                  <a:lnTo>
                    <a:pt x="86" y="1"/>
                  </a:lnTo>
                  <a:lnTo>
                    <a:pt x="10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3462338" y="4405313"/>
              <a:ext cx="314325" cy="225425"/>
            </a:xfrm>
            <a:custGeom>
              <a:avLst/>
              <a:gdLst>
                <a:gd name="T0" fmla="*/ 13 w 198"/>
                <a:gd name="T1" fmla="*/ 0 h 142"/>
                <a:gd name="T2" fmla="*/ 185 w 198"/>
                <a:gd name="T3" fmla="*/ 0 h 142"/>
                <a:gd name="T4" fmla="*/ 198 w 198"/>
                <a:gd name="T5" fmla="*/ 22 h 142"/>
                <a:gd name="T6" fmla="*/ 198 w 198"/>
                <a:gd name="T7" fmla="*/ 24 h 142"/>
                <a:gd name="T8" fmla="*/ 136 w 198"/>
                <a:gd name="T9" fmla="*/ 24 h 142"/>
                <a:gd name="T10" fmla="*/ 136 w 198"/>
                <a:gd name="T11" fmla="*/ 142 h 142"/>
                <a:gd name="T12" fmla="*/ 61 w 198"/>
                <a:gd name="T13" fmla="*/ 142 h 142"/>
                <a:gd name="T14" fmla="*/ 61 w 198"/>
                <a:gd name="T15" fmla="*/ 24 h 142"/>
                <a:gd name="T16" fmla="*/ 0 w 198"/>
                <a:gd name="T17" fmla="*/ 24 h 142"/>
                <a:gd name="T18" fmla="*/ 0 w 198"/>
                <a:gd name="T19" fmla="*/ 22 h 142"/>
                <a:gd name="T20" fmla="*/ 13 w 198"/>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42">
                  <a:moveTo>
                    <a:pt x="13" y="0"/>
                  </a:moveTo>
                  <a:lnTo>
                    <a:pt x="185" y="0"/>
                  </a:lnTo>
                  <a:lnTo>
                    <a:pt x="198" y="22"/>
                  </a:lnTo>
                  <a:lnTo>
                    <a:pt x="198" y="24"/>
                  </a:lnTo>
                  <a:lnTo>
                    <a:pt x="136" y="24"/>
                  </a:lnTo>
                  <a:lnTo>
                    <a:pt x="136" y="142"/>
                  </a:lnTo>
                  <a:lnTo>
                    <a:pt x="61" y="142"/>
                  </a:lnTo>
                  <a:lnTo>
                    <a:pt x="61" y="24"/>
                  </a:lnTo>
                  <a:lnTo>
                    <a:pt x="0" y="24"/>
                  </a:lnTo>
                  <a:lnTo>
                    <a:pt x="0" y="22"/>
                  </a:lnTo>
                  <a:lnTo>
                    <a:pt x="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4"/>
            <p:cNvSpPr>
              <a:spLocks noChangeArrowheads="1"/>
            </p:cNvSpPr>
            <p:nvPr/>
          </p:nvSpPr>
          <p:spPr bwMode="auto">
            <a:xfrm>
              <a:off x="3836988" y="4405313"/>
              <a:ext cx="115888" cy="2254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4037013" y="4405313"/>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7 w 223"/>
                <a:gd name="T13" fmla="*/ 142 h 142"/>
                <a:gd name="T14" fmla="*/ 46 w 223"/>
                <a:gd name="T15" fmla="*/ 70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7" y="142"/>
                  </a:lnTo>
                  <a:lnTo>
                    <a:pt x="46" y="70"/>
                  </a:lnTo>
                  <a:lnTo>
                    <a:pt x="46" y="142"/>
                  </a:lnTo>
                  <a:lnTo>
                    <a:pt x="0" y="14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noEditPoints="1"/>
            </p:cNvSpPr>
            <p:nvPr/>
          </p:nvSpPr>
          <p:spPr bwMode="auto">
            <a:xfrm>
              <a:off x="2274888" y="4387850"/>
              <a:ext cx="377825" cy="225425"/>
            </a:xfrm>
            <a:custGeom>
              <a:avLst/>
              <a:gdLst>
                <a:gd name="T0" fmla="*/ 106 w 238"/>
                <a:gd name="T1" fmla="*/ 39 h 142"/>
                <a:gd name="T2" fmla="*/ 76 w 238"/>
                <a:gd name="T3" fmla="*/ 94 h 142"/>
                <a:gd name="T4" fmla="*/ 132 w 238"/>
                <a:gd name="T5" fmla="*/ 94 h 142"/>
                <a:gd name="T6" fmla="*/ 106 w 238"/>
                <a:gd name="T7" fmla="*/ 39 h 142"/>
                <a:gd name="T8" fmla="*/ 86 w 238"/>
                <a:gd name="T9" fmla="*/ 0 h 142"/>
                <a:gd name="T10" fmla="*/ 160 w 238"/>
                <a:gd name="T11" fmla="*/ 0 h 142"/>
                <a:gd name="T12" fmla="*/ 238 w 238"/>
                <a:gd name="T13" fmla="*/ 140 h 142"/>
                <a:gd name="T14" fmla="*/ 238 w 238"/>
                <a:gd name="T15" fmla="*/ 142 h 142"/>
                <a:gd name="T16" fmla="*/ 159 w 238"/>
                <a:gd name="T17" fmla="*/ 142 h 142"/>
                <a:gd name="T18" fmla="*/ 144 w 238"/>
                <a:gd name="T19" fmla="*/ 115 h 142"/>
                <a:gd name="T20" fmla="*/ 64 w 238"/>
                <a:gd name="T21" fmla="*/ 115 h 142"/>
                <a:gd name="T22" fmla="*/ 51 w 238"/>
                <a:gd name="T23" fmla="*/ 142 h 142"/>
                <a:gd name="T24" fmla="*/ 0 w 238"/>
                <a:gd name="T25" fmla="*/ 142 h 142"/>
                <a:gd name="T26" fmla="*/ 0 w 238"/>
                <a:gd name="T27" fmla="*/ 140 h 142"/>
                <a:gd name="T28" fmla="*/ 86 w 238"/>
                <a:gd name="T2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8" h="142">
                  <a:moveTo>
                    <a:pt x="106" y="39"/>
                  </a:moveTo>
                  <a:lnTo>
                    <a:pt x="76" y="94"/>
                  </a:lnTo>
                  <a:lnTo>
                    <a:pt x="132" y="94"/>
                  </a:lnTo>
                  <a:lnTo>
                    <a:pt x="106" y="39"/>
                  </a:lnTo>
                  <a:close/>
                  <a:moveTo>
                    <a:pt x="86" y="0"/>
                  </a:moveTo>
                  <a:lnTo>
                    <a:pt x="160" y="0"/>
                  </a:lnTo>
                  <a:lnTo>
                    <a:pt x="238" y="140"/>
                  </a:lnTo>
                  <a:lnTo>
                    <a:pt x="238" y="142"/>
                  </a:lnTo>
                  <a:lnTo>
                    <a:pt x="159" y="142"/>
                  </a:lnTo>
                  <a:lnTo>
                    <a:pt x="144" y="115"/>
                  </a:lnTo>
                  <a:lnTo>
                    <a:pt x="64" y="115"/>
                  </a:lnTo>
                  <a:lnTo>
                    <a:pt x="51" y="142"/>
                  </a:lnTo>
                  <a:lnTo>
                    <a:pt x="0" y="142"/>
                  </a:lnTo>
                  <a:lnTo>
                    <a:pt x="0" y="140"/>
                  </a:lnTo>
                  <a:lnTo>
                    <a:pt x="8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2684463" y="4387850"/>
              <a:ext cx="339725" cy="234950"/>
            </a:xfrm>
            <a:custGeom>
              <a:avLst/>
              <a:gdLst>
                <a:gd name="T0" fmla="*/ 0 w 214"/>
                <a:gd name="T1" fmla="*/ 0 h 148"/>
                <a:gd name="T2" fmla="*/ 74 w 214"/>
                <a:gd name="T3" fmla="*/ 0 h 148"/>
                <a:gd name="T4" fmla="*/ 74 w 214"/>
                <a:gd name="T5" fmla="*/ 51 h 148"/>
                <a:gd name="T6" fmla="*/ 74 w 214"/>
                <a:gd name="T7" fmla="*/ 69 h 148"/>
                <a:gd name="T8" fmla="*/ 74 w 214"/>
                <a:gd name="T9" fmla="*/ 86 h 148"/>
                <a:gd name="T10" fmla="*/ 74 w 214"/>
                <a:gd name="T11" fmla="*/ 95 h 148"/>
                <a:gd name="T12" fmla="*/ 76 w 214"/>
                <a:gd name="T13" fmla="*/ 107 h 148"/>
                <a:gd name="T14" fmla="*/ 81 w 214"/>
                <a:gd name="T15" fmla="*/ 115 h 148"/>
                <a:gd name="T16" fmla="*/ 91 w 214"/>
                <a:gd name="T17" fmla="*/ 122 h 148"/>
                <a:gd name="T18" fmla="*/ 107 w 214"/>
                <a:gd name="T19" fmla="*/ 123 h 148"/>
                <a:gd name="T20" fmla="*/ 124 w 214"/>
                <a:gd name="T21" fmla="*/ 122 h 148"/>
                <a:gd name="T22" fmla="*/ 133 w 214"/>
                <a:gd name="T23" fmla="*/ 115 h 148"/>
                <a:gd name="T24" fmla="*/ 140 w 214"/>
                <a:gd name="T25" fmla="*/ 107 h 148"/>
                <a:gd name="T26" fmla="*/ 142 w 214"/>
                <a:gd name="T27" fmla="*/ 95 h 148"/>
                <a:gd name="T28" fmla="*/ 142 w 214"/>
                <a:gd name="T29" fmla="*/ 51 h 148"/>
                <a:gd name="T30" fmla="*/ 142 w 214"/>
                <a:gd name="T31" fmla="*/ 33 h 148"/>
                <a:gd name="T32" fmla="*/ 142 w 214"/>
                <a:gd name="T33" fmla="*/ 16 h 148"/>
                <a:gd name="T34" fmla="*/ 142 w 214"/>
                <a:gd name="T35" fmla="*/ 3 h 148"/>
                <a:gd name="T36" fmla="*/ 142 w 214"/>
                <a:gd name="T37" fmla="*/ 0 h 148"/>
                <a:gd name="T38" fmla="*/ 214 w 214"/>
                <a:gd name="T39" fmla="*/ 0 h 148"/>
                <a:gd name="T40" fmla="*/ 214 w 214"/>
                <a:gd name="T41" fmla="*/ 82 h 148"/>
                <a:gd name="T42" fmla="*/ 211 w 214"/>
                <a:gd name="T43" fmla="*/ 102 h 148"/>
                <a:gd name="T44" fmla="*/ 201 w 214"/>
                <a:gd name="T45" fmla="*/ 119 h 148"/>
                <a:gd name="T46" fmla="*/ 185 w 214"/>
                <a:gd name="T47" fmla="*/ 132 h 148"/>
                <a:gd name="T48" fmla="*/ 163 w 214"/>
                <a:gd name="T49" fmla="*/ 140 h 148"/>
                <a:gd name="T50" fmla="*/ 137 w 214"/>
                <a:gd name="T51" fmla="*/ 147 h 148"/>
                <a:gd name="T52" fmla="*/ 107 w 214"/>
                <a:gd name="T53" fmla="*/ 148 h 148"/>
                <a:gd name="T54" fmla="*/ 77 w 214"/>
                <a:gd name="T55" fmla="*/ 147 h 148"/>
                <a:gd name="T56" fmla="*/ 51 w 214"/>
                <a:gd name="T57" fmla="*/ 140 h 148"/>
                <a:gd name="T58" fmla="*/ 29 w 214"/>
                <a:gd name="T59" fmla="*/ 132 h 148"/>
                <a:gd name="T60" fmla="*/ 15 w 214"/>
                <a:gd name="T61" fmla="*/ 119 h 148"/>
                <a:gd name="T62" fmla="*/ 3 w 214"/>
                <a:gd name="T63" fmla="*/ 102 h 148"/>
                <a:gd name="T64" fmla="*/ 0 w 214"/>
                <a:gd name="T65" fmla="*/ 82 h 148"/>
                <a:gd name="T66" fmla="*/ 0 w 214"/>
                <a:gd name="T67" fmla="*/ 33 h 148"/>
                <a:gd name="T68" fmla="*/ 0 w 214"/>
                <a:gd name="T69" fmla="*/ 16 h 148"/>
                <a:gd name="T70" fmla="*/ 0 w 214"/>
                <a:gd name="T71" fmla="*/ 5 h 148"/>
                <a:gd name="T72" fmla="*/ 0 w 214"/>
                <a:gd name="T7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48">
                  <a:moveTo>
                    <a:pt x="0" y="0"/>
                  </a:moveTo>
                  <a:lnTo>
                    <a:pt x="74" y="0"/>
                  </a:lnTo>
                  <a:lnTo>
                    <a:pt x="74" y="51"/>
                  </a:lnTo>
                  <a:lnTo>
                    <a:pt x="74" y="69"/>
                  </a:lnTo>
                  <a:lnTo>
                    <a:pt x="74" y="86"/>
                  </a:lnTo>
                  <a:lnTo>
                    <a:pt x="74" y="95"/>
                  </a:lnTo>
                  <a:lnTo>
                    <a:pt x="76" y="107"/>
                  </a:lnTo>
                  <a:lnTo>
                    <a:pt x="81" y="115"/>
                  </a:lnTo>
                  <a:lnTo>
                    <a:pt x="91" y="122"/>
                  </a:lnTo>
                  <a:lnTo>
                    <a:pt x="107" y="123"/>
                  </a:lnTo>
                  <a:lnTo>
                    <a:pt x="124" y="122"/>
                  </a:lnTo>
                  <a:lnTo>
                    <a:pt x="133" y="115"/>
                  </a:lnTo>
                  <a:lnTo>
                    <a:pt x="140" y="107"/>
                  </a:lnTo>
                  <a:lnTo>
                    <a:pt x="142" y="95"/>
                  </a:lnTo>
                  <a:lnTo>
                    <a:pt x="142" y="51"/>
                  </a:lnTo>
                  <a:lnTo>
                    <a:pt x="142" y="33"/>
                  </a:lnTo>
                  <a:lnTo>
                    <a:pt x="142" y="16"/>
                  </a:lnTo>
                  <a:lnTo>
                    <a:pt x="142" y="3"/>
                  </a:lnTo>
                  <a:lnTo>
                    <a:pt x="142" y="0"/>
                  </a:lnTo>
                  <a:lnTo>
                    <a:pt x="214" y="0"/>
                  </a:lnTo>
                  <a:lnTo>
                    <a:pt x="214" y="82"/>
                  </a:lnTo>
                  <a:lnTo>
                    <a:pt x="211" y="102"/>
                  </a:lnTo>
                  <a:lnTo>
                    <a:pt x="201" y="119"/>
                  </a:lnTo>
                  <a:lnTo>
                    <a:pt x="185" y="132"/>
                  </a:lnTo>
                  <a:lnTo>
                    <a:pt x="163" y="140"/>
                  </a:lnTo>
                  <a:lnTo>
                    <a:pt x="137" y="147"/>
                  </a:lnTo>
                  <a:lnTo>
                    <a:pt x="107" y="148"/>
                  </a:lnTo>
                  <a:lnTo>
                    <a:pt x="77" y="147"/>
                  </a:lnTo>
                  <a:lnTo>
                    <a:pt x="51" y="140"/>
                  </a:lnTo>
                  <a:lnTo>
                    <a:pt x="29" y="132"/>
                  </a:lnTo>
                  <a:lnTo>
                    <a:pt x="15" y="119"/>
                  </a:lnTo>
                  <a:lnTo>
                    <a:pt x="3" y="102"/>
                  </a:lnTo>
                  <a:lnTo>
                    <a:pt x="0" y="82"/>
                  </a:lnTo>
                  <a:lnTo>
                    <a:pt x="0" y="33"/>
                  </a:lnTo>
                  <a:lnTo>
                    <a:pt x="0" y="16"/>
                  </a:lnTo>
                  <a:lnTo>
                    <a:pt x="0" y="5"/>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3087688" y="4379913"/>
              <a:ext cx="330200" cy="241300"/>
            </a:xfrm>
            <a:custGeom>
              <a:avLst/>
              <a:gdLst>
                <a:gd name="T0" fmla="*/ 106 w 208"/>
                <a:gd name="T1" fmla="*/ 0 h 152"/>
                <a:gd name="T2" fmla="*/ 134 w 208"/>
                <a:gd name="T3" fmla="*/ 2 h 152"/>
                <a:gd name="T4" fmla="*/ 157 w 208"/>
                <a:gd name="T5" fmla="*/ 5 h 152"/>
                <a:gd name="T6" fmla="*/ 178 w 208"/>
                <a:gd name="T7" fmla="*/ 13 h 152"/>
                <a:gd name="T8" fmla="*/ 197 w 208"/>
                <a:gd name="T9" fmla="*/ 23 h 152"/>
                <a:gd name="T10" fmla="*/ 168 w 208"/>
                <a:gd name="T11" fmla="*/ 38 h 152"/>
                <a:gd name="T12" fmla="*/ 149 w 208"/>
                <a:gd name="T13" fmla="*/ 30 h 152"/>
                <a:gd name="T14" fmla="*/ 126 w 208"/>
                <a:gd name="T15" fmla="*/ 25 h 152"/>
                <a:gd name="T16" fmla="*/ 106 w 208"/>
                <a:gd name="T17" fmla="*/ 23 h 152"/>
                <a:gd name="T18" fmla="*/ 94 w 208"/>
                <a:gd name="T19" fmla="*/ 23 h 152"/>
                <a:gd name="T20" fmla="*/ 83 w 208"/>
                <a:gd name="T21" fmla="*/ 25 h 152"/>
                <a:gd name="T22" fmla="*/ 74 w 208"/>
                <a:gd name="T23" fmla="*/ 28 h 152"/>
                <a:gd name="T24" fmla="*/ 71 w 208"/>
                <a:gd name="T25" fmla="*/ 35 h 152"/>
                <a:gd name="T26" fmla="*/ 74 w 208"/>
                <a:gd name="T27" fmla="*/ 40 h 152"/>
                <a:gd name="T28" fmla="*/ 86 w 208"/>
                <a:gd name="T29" fmla="*/ 44 h 152"/>
                <a:gd name="T30" fmla="*/ 104 w 208"/>
                <a:gd name="T31" fmla="*/ 48 h 152"/>
                <a:gd name="T32" fmla="*/ 129 w 208"/>
                <a:gd name="T33" fmla="*/ 53 h 152"/>
                <a:gd name="T34" fmla="*/ 145 w 208"/>
                <a:gd name="T35" fmla="*/ 56 h 152"/>
                <a:gd name="T36" fmla="*/ 163 w 208"/>
                <a:gd name="T37" fmla="*/ 61 h 152"/>
                <a:gd name="T38" fmla="*/ 180 w 208"/>
                <a:gd name="T39" fmla="*/ 68 h 152"/>
                <a:gd name="T40" fmla="*/ 195 w 208"/>
                <a:gd name="T41" fmla="*/ 77 h 152"/>
                <a:gd name="T42" fmla="*/ 205 w 208"/>
                <a:gd name="T43" fmla="*/ 87 h 152"/>
                <a:gd name="T44" fmla="*/ 208 w 208"/>
                <a:gd name="T45" fmla="*/ 102 h 152"/>
                <a:gd name="T46" fmla="*/ 203 w 208"/>
                <a:gd name="T47" fmla="*/ 117 h 152"/>
                <a:gd name="T48" fmla="*/ 193 w 208"/>
                <a:gd name="T49" fmla="*/ 130 h 152"/>
                <a:gd name="T50" fmla="*/ 175 w 208"/>
                <a:gd name="T51" fmla="*/ 140 h 152"/>
                <a:gd name="T52" fmla="*/ 154 w 208"/>
                <a:gd name="T53" fmla="*/ 147 h 152"/>
                <a:gd name="T54" fmla="*/ 129 w 208"/>
                <a:gd name="T55" fmla="*/ 150 h 152"/>
                <a:gd name="T56" fmla="*/ 102 w 208"/>
                <a:gd name="T57" fmla="*/ 152 h 152"/>
                <a:gd name="T58" fmla="*/ 73 w 208"/>
                <a:gd name="T59" fmla="*/ 150 h 152"/>
                <a:gd name="T60" fmla="*/ 46 w 208"/>
                <a:gd name="T61" fmla="*/ 145 h 152"/>
                <a:gd name="T62" fmla="*/ 26 w 208"/>
                <a:gd name="T63" fmla="*/ 138 h 152"/>
                <a:gd name="T64" fmla="*/ 12 w 208"/>
                <a:gd name="T65" fmla="*/ 130 h 152"/>
                <a:gd name="T66" fmla="*/ 0 w 208"/>
                <a:gd name="T67" fmla="*/ 124 h 152"/>
                <a:gd name="T68" fmla="*/ 30 w 208"/>
                <a:gd name="T69" fmla="*/ 105 h 152"/>
                <a:gd name="T70" fmla="*/ 50 w 208"/>
                <a:gd name="T71" fmla="*/ 117 h 152"/>
                <a:gd name="T72" fmla="*/ 74 w 208"/>
                <a:gd name="T73" fmla="*/ 125 h 152"/>
                <a:gd name="T74" fmla="*/ 102 w 208"/>
                <a:gd name="T75" fmla="*/ 128 h 152"/>
                <a:gd name="T76" fmla="*/ 112 w 208"/>
                <a:gd name="T77" fmla="*/ 128 h 152"/>
                <a:gd name="T78" fmla="*/ 124 w 208"/>
                <a:gd name="T79" fmla="*/ 127 h 152"/>
                <a:gd name="T80" fmla="*/ 134 w 208"/>
                <a:gd name="T81" fmla="*/ 124 h 152"/>
                <a:gd name="T82" fmla="*/ 139 w 208"/>
                <a:gd name="T83" fmla="*/ 117 h 152"/>
                <a:gd name="T84" fmla="*/ 135 w 208"/>
                <a:gd name="T85" fmla="*/ 112 h 152"/>
                <a:gd name="T86" fmla="*/ 127 w 208"/>
                <a:gd name="T87" fmla="*/ 107 h 152"/>
                <a:gd name="T88" fmla="*/ 114 w 208"/>
                <a:gd name="T89" fmla="*/ 102 h 152"/>
                <a:gd name="T90" fmla="*/ 97 w 208"/>
                <a:gd name="T91" fmla="*/ 99 h 152"/>
                <a:gd name="T92" fmla="*/ 81 w 208"/>
                <a:gd name="T93" fmla="*/ 96 h 152"/>
                <a:gd name="T94" fmla="*/ 64 w 208"/>
                <a:gd name="T95" fmla="*/ 94 h 152"/>
                <a:gd name="T96" fmla="*/ 48 w 208"/>
                <a:gd name="T97" fmla="*/ 89 h 152"/>
                <a:gd name="T98" fmla="*/ 31 w 208"/>
                <a:gd name="T99" fmla="*/ 82 h 152"/>
                <a:gd name="T100" fmla="*/ 18 w 208"/>
                <a:gd name="T101" fmla="*/ 74 h 152"/>
                <a:gd name="T102" fmla="*/ 8 w 208"/>
                <a:gd name="T103" fmla="*/ 64 h 152"/>
                <a:gd name="T104" fmla="*/ 5 w 208"/>
                <a:gd name="T105" fmla="*/ 49 h 152"/>
                <a:gd name="T106" fmla="*/ 8 w 208"/>
                <a:gd name="T107" fmla="*/ 35 h 152"/>
                <a:gd name="T108" fmla="*/ 18 w 208"/>
                <a:gd name="T109" fmla="*/ 23 h 152"/>
                <a:gd name="T110" fmla="*/ 31 w 208"/>
                <a:gd name="T111" fmla="*/ 13 h 152"/>
                <a:gd name="T112" fmla="*/ 48 w 208"/>
                <a:gd name="T113" fmla="*/ 7 h 152"/>
                <a:gd name="T114" fmla="*/ 68 w 208"/>
                <a:gd name="T115" fmla="*/ 3 h 152"/>
                <a:gd name="T116" fmla="*/ 88 w 208"/>
                <a:gd name="T117" fmla="*/ 2 h 152"/>
                <a:gd name="T118" fmla="*/ 106 w 208"/>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52">
                  <a:moveTo>
                    <a:pt x="106" y="0"/>
                  </a:moveTo>
                  <a:lnTo>
                    <a:pt x="134" y="2"/>
                  </a:lnTo>
                  <a:lnTo>
                    <a:pt x="157" y="5"/>
                  </a:lnTo>
                  <a:lnTo>
                    <a:pt x="178" y="13"/>
                  </a:lnTo>
                  <a:lnTo>
                    <a:pt x="197" y="23"/>
                  </a:lnTo>
                  <a:lnTo>
                    <a:pt x="168" y="38"/>
                  </a:lnTo>
                  <a:lnTo>
                    <a:pt x="149" y="30"/>
                  </a:lnTo>
                  <a:lnTo>
                    <a:pt x="126" y="25"/>
                  </a:lnTo>
                  <a:lnTo>
                    <a:pt x="106" y="23"/>
                  </a:lnTo>
                  <a:lnTo>
                    <a:pt x="94" y="23"/>
                  </a:lnTo>
                  <a:lnTo>
                    <a:pt x="83" y="25"/>
                  </a:lnTo>
                  <a:lnTo>
                    <a:pt x="74" y="28"/>
                  </a:lnTo>
                  <a:lnTo>
                    <a:pt x="71" y="35"/>
                  </a:lnTo>
                  <a:lnTo>
                    <a:pt x="74" y="40"/>
                  </a:lnTo>
                  <a:lnTo>
                    <a:pt x="86" y="44"/>
                  </a:lnTo>
                  <a:lnTo>
                    <a:pt x="104" y="48"/>
                  </a:lnTo>
                  <a:lnTo>
                    <a:pt x="129" y="53"/>
                  </a:lnTo>
                  <a:lnTo>
                    <a:pt x="145" y="56"/>
                  </a:lnTo>
                  <a:lnTo>
                    <a:pt x="163" y="61"/>
                  </a:lnTo>
                  <a:lnTo>
                    <a:pt x="180" y="68"/>
                  </a:lnTo>
                  <a:lnTo>
                    <a:pt x="195" y="77"/>
                  </a:lnTo>
                  <a:lnTo>
                    <a:pt x="205" y="87"/>
                  </a:lnTo>
                  <a:lnTo>
                    <a:pt x="208" y="102"/>
                  </a:lnTo>
                  <a:lnTo>
                    <a:pt x="203" y="117"/>
                  </a:lnTo>
                  <a:lnTo>
                    <a:pt x="193" y="130"/>
                  </a:lnTo>
                  <a:lnTo>
                    <a:pt x="175" y="140"/>
                  </a:lnTo>
                  <a:lnTo>
                    <a:pt x="154" y="147"/>
                  </a:lnTo>
                  <a:lnTo>
                    <a:pt x="129" y="150"/>
                  </a:lnTo>
                  <a:lnTo>
                    <a:pt x="102" y="152"/>
                  </a:lnTo>
                  <a:lnTo>
                    <a:pt x="73" y="150"/>
                  </a:lnTo>
                  <a:lnTo>
                    <a:pt x="46" y="145"/>
                  </a:lnTo>
                  <a:lnTo>
                    <a:pt x="26" y="138"/>
                  </a:lnTo>
                  <a:lnTo>
                    <a:pt x="12" y="130"/>
                  </a:lnTo>
                  <a:lnTo>
                    <a:pt x="0" y="124"/>
                  </a:lnTo>
                  <a:lnTo>
                    <a:pt x="30" y="105"/>
                  </a:lnTo>
                  <a:lnTo>
                    <a:pt x="50" y="117"/>
                  </a:lnTo>
                  <a:lnTo>
                    <a:pt x="74" y="125"/>
                  </a:lnTo>
                  <a:lnTo>
                    <a:pt x="102" y="128"/>
                  </a:lnTo>
                  <a:lnTo>
                    <a:pt x="112" y="128"/>
                  </a:lnTo>
                  <a:lnTo>
                    <a:pt x="124" y="127"/>
                  </a:lnTo>
                  <a:lnTo>
                    <a:pt x="134" y="124"/>
                  </a:lnTo>
                  <a:lnTo>
                    <a:pt x="139" y="117"/>
                  </a:lnTo>
                  <a:lnTo>
                    <a:pt x="135" y="112"/>
                  </a:lnTo>
                  <a:lnTo>
                    <a:pt x="127" y="107"/>
                  </a:lnTo>
                  <a:lnTo>
                    <a:pt x="114" y="102"/>
                  </a:lnTo>
                  <a:lnTo>
                    <a:pt x="97" y="99"/>
                  </a:lnTo>
                  <a:lnTo>
                    <a:pt x="81" y="96"/>
                  </a:lnTo>
                  <a:lnTo>
                    <a:pt x="64" y="94"/>
                  </a:lnTo>
                  <a:lnTo>
                    <a:pt x="48" y="89"/>
                  </a:lnTo>
                  <a:lnTo>
                    <a:pt x="31" y="82"/>
                  </a:lnTo>
                  <a:lnTo>
                    <a:pt x="18" y="74"/>
                  </a:lnTo>
                  <a:lnTo>
                    <a:pt x="8" y="64"/>
                  </a:lnTo>
                  <a:lnTo>
                    <a:pt x="5" y="49"/>
                  </a:lnTo>
                  <a:lnTo>
                    <a:pt x="8" y="35"/>
                  </a:lnTo>
                  <a:lnTo>
                    <a:pt x="18" y="23"/>
                  </a:lnTo>
                  <a:lnTo>
                    <a:pt x="31" y="13"/>
                  </a:lnTo>
                  <a:lnTo>
                    <a:pt x="48" y="7"/>
                  </a:lnTo>
                  <a:lnTo>
                    <a:pt x="68" y="3"/>
                  </a:lnTo>
                  <a:lnTo>
                    <a:pt x="88" y="2"/>
                  </a:lnTo>
                  <a:lnTo>
                    <a:pt x="10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p:cNvSpPr>
            <p:nvPr/>
          </p:nvSpPr>
          <p:spPr bwMode="auto">
            <a:xfrm>
              <a:off x="3444875" y="4387850"/>
              <a:ext cx="311150" cy="225425"/>
            </a:xfrm>
            <a:custGeom>
              <a:avLst/>
              <a:gdLst>
                <a:gd name="T0" fmla="*/ 13 w 196"/>
                <a:gd name="T1" fmla="*/ 0 h 142"/>
                <a:gd name="T2" fmla="*/ 183 w 196"/>
                <a:gd name="T3" fmla="*/ 0 h 142"/>
                <a:gd name="T4" fmla="*/ 196 w 196"/>
                <a:gd name="T5" fmla="*/ 21 h 142"/>
                <a:gd name="T6" fmla="*/ 196 w 196"/>
                <a:gd name="T7" fmla="*/ 23 h 142"/>
                <a:gd name="T8" fmla="*/ 135 w 196"/>
                <a:gd name="T9" fmla="*/ 23 h 142"/>
                <a:gd name="T10" fmla="*/ 135 w 196"/>
                <a:gd name="T11" fmla="*/ 142 h 142"/>
                <a:gd name="T12" fmla="*/ 61 w 196"/>
                <a:gd name="T13" fmla="*/ 142 h 142"/>
                <a:gd name="T14" fmla="*/ 61 w 196"/>
                <a:gd name="T15" fmla="*/ 23 h 142"/>
                <a:gd name="T16" fmla="*/ 0 w 196"/>
                <a:gd name="T17" fmla="*/ 23 h 142"/>
                <a:gd name="T18" fmla="*/ 0 w 196"/>
                <a:gd name="T19" fmla="*/ 21 h 142"/>
                <a:gd name="T20" fmla="*/ 13 w 196"/>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2">
                  <a:moveTo>
                    <a:pt x="13" y="0"/>
                  </a:moveTo>
                  <a:lnTo>
                    <a:pt x="183" y="0"/>
                  </a:lnTo>
                  <a:lnTo>
                    <a:pt x="196" y="21"/>
                  </a:lnTo>
                  <a:lnTo>
                    <a:pt x="196" y="23"/>
                  </a:lnTo>
                  <a:lnTo>
                    <a:pt x="135" y="23"/>
                  </a:lnTo>
                  <a:lnTo>
                    <a:pt x="135" y="142"/>
                  </a:lnTo>
                  <a:lnTo>
                    <a:pt x="61" y="142"/>
                  </a:lnTo>
                  <a:lnTo>
                    <a:pt x="61" y="23"/>
                  </a:lnTo>
                  <a:lnTo>
                    <a:pt x="0" y="23"/>
                  </a:lnTo>
                  <a:lnTo>
                    <a:pt x="0" y="21"/>
                  </a:lnTo>
                  <a:lnTo>
                    <a:pt x="1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Rectangle 30"/>
            <p:cNvSpPr>
              <a:spLocks noChangeArrowheads="1"/>
            </p:cNvSpPr>
            <p:nvPr/>
          </p:nvSpPr>
          <p:spPr bwMode="auto">
            <a:xfrm>
              <a:off x="3816350" y="4387850"/>
              <a:ext cx="117475" cy="225425"/>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1"/>
            <p:cNvSpPr>
              <a:spLocks/>
            </p:cNvSpPr>
            <p:nvPr/>
          </p:nvSpPr>
          <p:spPr bwMode="auto">
            <a:xfrm>
              <a:off x="4016375" y="4387850"/>
              <a:ext cx="354013" cy="225425"/>
            </a:xfrm>
            <a:custGeom>
              <a:avLst/>
              <a:gdLst>
                <a:gd name="T0" fmla="*/ 0 w 223"/>
                <a:gd name="T1" fmla="*/ 0 h 142"/>
                <a:gd name="T2" fmla="*/ 41 w 223"/>
                <a:gd name="T3" fmla="*/ 0 h 142"/>
                <a:gd name="T4" fmla="*/ 175 w 223"/>
                <a:gd name="T5" fmla="*/ 76 h 142"/>
                <a:gd name="T6" fmla="*/ 175 w 223"/>
                <a:gd name="T7" fmla="*/ 0 h 142"/>
                <a:gd name="T8" fmla="*/ 223 w 223"/>
                <a:gd name="T9" fmla="*/ 0 h 142"/>
                <a:gd name="T10" fmla="*/ 223 w 223"/>
                <a:gd name="T11" fmla="*/ 142 h 142"/>
                <a:gd name="T12" fmla="*/ 176 w 223"/>
                <a:gd name="T13" fmla="*/ 142 h 142"/>
                <a:gd name="T14" fmla="*/ 46 w 223"/>
                <a:gd name="T15" fmla="*/ 69 h 142"/>
                <a:gd name="T16" fmla="*/ 46 w 223"/>
                <a:gd name="T17" fmla="*/ 142 h 142"/>
                <a:gd name="T18" fmla="*/ 0 w 223"/>
                <a:gd name="T19" fmla="*/ 142 h 142"/>
                <a:gd name="T20" fmla="*/ 0 w 223"/>
                <a:gd name="T2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142">
                  <a:moveTo>
                    <a:pt x="0" y="0"/>
                  </a:moveTo>
                  <a:lnTo>
                    <a:pt x="41" y="0"/>
                  </a:lnTo>
                  <a:lnTo>
                    <a:pt x="175" y="76"/>
                  </a:lnTo>
                  <a:lnTo>
                    <a:pt x="175" y="0"/>
                  </a:lnTo>
                  <a:lnTo>
                    <a:pt x="223" y="0"/>
                  </a:lnTo>
                  <a:lnTo>
                    <a:pt x="223" y="142"/>
                  </a:lnTo>
                  <a:lnTo>
                    <a:pt x="176" y="142"/>
                  </a:lnTo>
                  <a:lnTo>
                    <a:pt x="46" y="69"/>
                  </a:lnTo>
                  <a:lnTo>
                    <a:pt x="46" y="142"/>
                  </a:lnTo>
                  <a:lnTo>
                    <a:pt x="0" y="14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2"/>
            <p:cNvSpPr>
              <a:spLocks noEditPoints="1"/>
            </p:cNvSpPr>
            <p:nvPr/>
          </p:nvSpPr>
          <p:spPr bwMode="auto">
            <a:xfrm>
              <a:off x="1768475" y="3789363"/>
              <a:ext cx="3098800" cy="1785938"/>
            </a:xfrm>
            <a:custGeom>
              <a:avLst/>
              <a:gdLst>
                <a:gd name="T0" fmla="*/ 179 w 1952"/>
                <a:gd name="T1" fmla="*/ 23 h 1125"/>
                <a:gd name="T2" fmla="*/ 184 w 1952"/>
                <a:gd name="T3" fmla="*/ 36 h 1125"/>
                <a:gd name="T4" fmla="*/ 417 w 1952"/>
                <a:gd name="T5" fmla="*/ 194 h 1125"/>
                <a:gd name="T6" fmla="*/ 364 w 1952"/>
                <a:gd name="T7" fmla="*/ 253 h 1125"/>
                <a:gd name="T8" fmla="*/ 109 w 1952"/>
                <a:gd name="T9" fmla="*/ 379 h 1125"/>
                <a:gd name="T10" fmla="*/ 19 w 1952"/>
                <a:gd name="T11" fmla="*/ 532 h 1125"/>
                <a:gd name="T12" fmla="*/ 108 w 1952"/>
                <a:gd name="T13" fmla="*/ 683 h 1125"/>
                <a:gd name="T14" fmla="*/ 349 w 1952"/>
                <a:gd name="T15" fmla="*/ 805 h 1125"/>
                <a:gd name="T16" fmla="*/ 702 w 1952"/>
                <a:gd name="T17" fmla="*/ 879 h 1125"/>
                <a:gd name="T18" fmla="*/ 1054 w 1952"/>
                <a:gd name="T19" fmla="*/ 893 h 1125"/>
                <a:gd name="T20" fmla="*/ 1138 w 1952"/>
                <a:gd name="T21" fmla="*/ 894 h 1125"/>
                <a:gd name="T22" fmla="*/ 1135 w 1952"/>
                <a:gd name="T23" fmla="*/ 906 h 1125"/>
                <a:gd name="T24" fmla="*/ 975 w 1952"/>
                <a:gd name="T25" fmla="*/ 912 h 1125"/>
                <a:gd name="T26" fmla="*/ 1141 w 1952"/>
                <a:gd name="T27" fmla="*/ 960 h 1125"/>
                <a:gd name="T28" fmla="*/ 1350 w 1952"/>
                <a:gd name="T29" fmla="*/ 1021 h 1125"/>
                <a:gd name="T30" fmla="*/ 1536 w 1952"/>
                <a:gd name="T31" fmla="*/ 1076 h 1125"/>
                <a:gd name="T32" fmla="*/ 1639 w 1952"/>
                <a:gd name="T33" fmla="*/ 1105 h 1125"/>
                <a:gd name="T34" fmla="*/ 1657 w 1952"/>
                <a:gd name="T35" fmla="*/ 1104 h 1125"/>
                <a:gd name="T36" fmla="*/ 1657 w 1952"/>
                <a:gd name="T37" fmla="*/ 1087 h 1125"/>
                <a:gd name="T38" fmla="*/ 1335 w 1952"/>
                <a:gd name="T39" fmla="*/ 907 h 1125"/>
                <a:gd name="T40" fmla="*/ 1488 w 1952"/>
                <a:gd name="T41" fmla="*/ 838 h 1125"/>
                <a:gd name="T42" fmla="*/ 1739 w 1952"/>
                <a:gd name="T43" fmla="*/ 751 h 1125"/>
                <a:gd name="T44" fmla="*/ 1911 w 1952"/>
                <a:gd name="T45" fmla="*/ 609 h 1125"/>
                <a:gd name="T46" fmla="*/ 1913 w 1952"/>
                <a:gd name="T47" fmla="*/ 456 h 1125"/>
                <a:gd name="T48" fmla="*/ 1756 w 1952"/>
                <a:gd name="T49" fmla="*/ 321 h 1125"/>
                <a:gd name="T50" fmla="*/ 1473 w 1952"/>
                <a:gd name="T51" fmla="*/ 222 h 1125"/>
                <a:gd name="T52" fmla="*/ 1100 w 1952"/>
                <a:gd name="T53" fmla="*/ 173 h 1125"/>
                <a:gd name="T54" fmla="*/ 876 w 1952"/>
                <a:gd name="T55" fmla="*/ 171 h 1125"/>
                <a:gd name="T56" fmla="*/ 869 w 1952"/>
                <a:gd name="T57" fmla="*/ 159 h 1125"/>
                <a:gd name="T58" fmla="*/ 976 w 1952"/>
                <a:gd name="T59" fmla="*/ 151 h 1125"/>
                <a:gd name="T60" fmla="*/ 928 w 1952"/>
                <a:gd name="T61" fmla="*/ 120 h 1125"/>
                <a:gd name="T62" fmla="*/ 767 w 1952"/>
                <a:gd name="T63" fmla="*/ 69 h 1125"/>
                <a:gd name="T64" fmla="*/ 636 w 1952"/>
                <a:gd name="T65" fmla="*/ 29 h 1125"/>
                <a:gd name="T66" fmla="*/ 597 w 1952"/>
                <a:gd name="T67" fmla="*/ 16 h 1125"/>
                <a:gd name="T68" fmla="*/ 601 w 1952"/>
                <a:gd name="T69" fmla="*/ 0 h 1125"/>
                <a:gd name="T70" fmla="*/ 1295 w 1952"/>
                <a:gd name="T71" fmla="*/ 173 h 1125"/>
                <a:gd name="T72" fmla="*/ 1634 w 1952"/>
                <a:gd name="T73" fmla="*/ 250 h 1125"/>
                <a:gd name="T74" fmla="*/ 1868 w 1952"/>
                <a:gd name="T75" fmla="*/ 377 h 1125"/>
                <a:gd name="T76" fmla="*/ 1952 w 1952"/>
                <a:gd name="T77" fmla="*/ 532 h 1125"/>
                <a:gd name="T78" fmla="*/ 1865 w 1952"/>
                <a:gd name="T79" fmla="*/ 690 h 1125"/>
                <a:gd name="T80" fmla="*/ 1620 w 1952"/>
                <a:gd name="T81" fmla="*/ 817 h 1125"/>
                <a:gd name="T82" fmla="*/ 1576 w 1952"/>
                <a:gd name="T83" fmla="*/ 879 h 1125"/>
                <a:gd name="T84" fmla="*/ 1409 w 1952"/>
                <a:gd name="T85" fmla="*/ 944 h 1125"/>
                <a:gd name="T86" fmla="*/ 1526 w 1952"/>
                <a:gd name="T87" fmla="*/ 1001 h 1125"/>
                <a:gd name="T88" fmla="*/ 1630 w 1952"/>
                <a:gd name="T89" fmla="*/ 1052 h 1125"/>
                <a:gd name="T90" fmla="*/ 1670 w 1952"/>
                <a:gd name="T91" fmla="*/ 1074 h 1125"/>
                <a:gd name="T92" fmla="*/ 1673 w 1952"/>
                <a:gd name="T93" fmla="*/ 1110 h 1125"/>
                <a:gd name="T94" fmla="*/ 1647 w 1952"/>
                <a:gd name="T95" fmla="*/ 1125 h 1125"/>
                <a:gd name="T96" fmla="*/ 909 w 1952"/>
                <a:gd name="T97" fmla="*/ 911 h 1125"/>
                <a:gd name="T98" fmla="*/ 514 w 1952"/>
                <a:gd name="T99" fmla="*/ 866 h 1125"/>
                <a:gd name="T100" fmla="*/ 199 w 1952"/>
                <a:gd name="T101" fmla="*/ 762 h 1125"/>
                <a:gd name="T102" fmla="*/ 23 w 1952"/>
                <a:gd name="T103" fmla="*/ 614 h 1125"/>
                <a:gd name="T104" fmla="*/ 5 w 1952"/>
                <a:gd name="T105" fmla="*/ 491 h 1125"/>
                <a:gd name="T106" fmla="*/ 136 w 1952"/>
                <a:gd name="T107" fmla="*/ 337 h 1125"/>
                <a:gd name="T108" fmla="*/ 288 w 1952"/>
                <a:gd name="T109" fmla="*/ 229 h 1125"/>
                <a:gd name="T110" fmla="*/ 484 w 1952"/>
                <a:gd name="T111" fmla="*/ 161 h 1125"/>
                <a:gd name="T112" fmla="*/ 367 w 1952"/>
                <a:gd name="T113" fmla="*/ 120 h 1125"/>
                <a:gd name="T114" fmla="*/ 238 w 1952"/>
                <a:gd name="T115" fmla="*/ 74 h 1125"/>
                <a:gd name="T116" fmla="*/ 177 w 1952"/>
                <a:gd name="T117" fmla="*/ 52 h 1125"/>
                <a:gd name="T118" fmla="*/ 161 w 1952"/>
                <a:gd name="T119" fmla="*/ 33 h 1125"/>
                <a:gd name="T120" fmla="*/ 187 w 1952"/>
                <a:gd name="T121" fmla="*/ 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52" h="1125">
                  <a:moveTo>
                    <a:pt x="187" y="16"/>
                  </a:moveTo>
                  <a:lnTo>
                    <a:pt x="184" y="18"/>
                  </a:lnTo>
                  <a:lnTo>
                    <a:pt x="180" y="19"/>
                  </a:lnTo>
                  <a:lnTo>
                    <a:pt x="179" y="23"/>
                  </a:lnTo>
                  <a:lnTo>
                    <a:pt x="177" y="26"/>
                  </a:lnTo>
                  <a:lnTo>
                    <a:pt x="179" y="31"/>
                  </a:lnTo>
                  <a:lnTo>
                    <a:pt x="180" y="33"/>
                  </a:lnTo>
                  <a:lnTo>
                    <a:pt x="184" y="36"/>
                  </a:lnTo>
                  <a:lnTo>
                    <a:pt x="521" y="156"/>
                  </a:lnTo>
                  <a:lnTo>
                    <a:pt x="552" y="168"/>
                  </a:lnTo>
                  <a:lnTo>
                    <a:pt x="519" y="173"/>
                  </a:lnTo>
                  <a:lnTo>
                    <a:pt x="417" y="194"/>
                  </a:lnTo>
                  <a:lnTo>
                    <a:pt x="319" y="220"/>
                  </a:lnTo>
                  <a:lnTo>
                    <a:pt x="364" y="237"/>
                  </a:lnTo>
                  <a:lnTo>
                    <a:pt x="388" y="245"/>
                  </a:lnTo>
                  <a:lnTo>
                    <a:pt x="364" y="253"/>
                  </a:lnTo>
                  <a:lnTo>
                    <a:pt x="286" y="281"/>
                  </a:lnTo>
                  <a:lnTo>
                    <a:pt x="217" y="311"/>
                  </a:lnTo>
                  <a:lnTo>
                    <a:pt x="157" y="344"/>
                  </a:lnTo>
                  <a:lnTo>
                    <a:pt x="109" y="379"/>
                  </a:lnTo>
                  <a:lnTo>
                    <a:pt x="70" y="415"/>
                  </a:lnTo>
                  <a:lnTo>
                    <a:pt x="42" y="453"/>
                  </a:lnTo>
                  <a:lnTo>
                    <a:pt x="23" y="492"/>
                  </a:lnTo>
                  <a:lnTo>
                    <a:pt x="19" y="532"/>
                  </a:lnTo>
                  <a:lnTo>
                    <a:pt x="23" y="571"/>
                  </a:lnTo>
                  <a:lnTo>
                    <a:pt x="42" y="611"/>
                  </a:lnTo>
                  <a:lnTo>
                    <a:pt x="70" y="649"/>
                  </a:lnTo>
                  <a:lnTo>
                    <a:pt x="108" y="683"/>
                  </a:lnTo>
                  <a:lnTo>
                    <a:pt x="156" y="718"/>
                  </a:lnTo>
                  <a:lnTo>
                    <a:pt x="212" y="749"/>
                  </a:lnTo>
                  <a:lnTo>
                    <a:pt x="276" y="779"/>
                  </a:lnTo>
                  <a:lnTo>
                    <a:pt x="349" y="805"/>
                  </a:lnTo>
                  <a:lnTo>
                    <a:pt x="428" y="828"/>
                  </a:lnTo>
                  <a:lnTo>
                    <a:pt x="514" y="848"/>
                  </a:lnTo>
                  <a:lnTo>
                    <a:pt x="606" y="866"/>
                  </a:lnTo>
                  <a:lnTo>
                    <a:pt x="702" y="879"/>
                  </a:lnTo>
                  <a:lnTo>
                    <a:pt x="805" y="888"/>
                  </a:lnTo>
                  <a:lnTo>
                    <a:pt x="909" y="893"/>
                  </a:lnTo>
                  <a:lnTo>
                    <a:pt x="976" y="894"/>
                  </a:lnTo>
                  <a:lnTo>
                    <a:pt x="1054" y="893"/>
                  </a:lnTo>
                  <a:lnTo>
                    <a:pt x="1130" y="889"/>
                  </a:lnTo>
                  <a:lnTo>
                    <a:pt x="1133" y="889"/>
                  </a:lnTo>
                  <a:lnTo>
                    <a:pt x="1137" y="891"/>
                  </a:lnTo>
                  <a:lnTo>
                    <a:pt x="1138" y="894"/>
                  </a:lnTo>
                  <a:lnTo>
                    <a:pt x="1140" y="898"/>
                  </a:lnTo>
                  <a:lnTo>
                    <a:pt x="1140" y="901"/>
                  </a:lnTo>
                  <a:lnTo>
                    <a:pt x="1138" y="904"/>
                  </a:lnTo>
                  <a:lnTo>
                    <a:pt x="1135" y="906"/>
                  </a:lnTo>
                  <a:lnTo>
                    <a:pt x="1132" y="907"/>
                  </a:lnTo>
                  <a:lnTo>
                    <a:pt x="1054" y="911"/>
                  </a:lnTo>
                  <a:lnTo>
                    <a:pt x="976" y="912"/>
                  </a:lnTo>
                  <a:lnTo>
                    <a:pt x="975" y="912"/>
                  </a:lnTo>
                  <a:lnTo>
                    <a:pt x="1009" y="922"/>
                  </a:lnTo>
                  <a:lnTo>
                    <a:pt x="1049" y="934"/>
                  </a:lnTo>
                  <a:lnTo>
                    <a:pt x="1094" y="947"/>
                  </a:lnTo>
                  <a:lnTo>
                    <a:pt x="1141" y="960"/>
                  </a:lnTo>
                  <a:lnTo>
                    <a:pt x="1193" y="975"/>
                  </a:lnTo>
                  <a:lnTo>
                    <a:pt x="1246" y="990"/>
                  </a:lnTo>
                  <a:lnTo>
                    <a:pt x="1298" y="1006"/>
                  </a:lnTo>
                  <a:lnTo>
                    <a:pt x="1350" y="1021"/>
                  </a:lnTo>
                  <a:lnTo>
                    <a:pt x="1401" y="1036"/>
                  </a:lnTo>
                  <a:lnTo>
                    <a:pt x="1450" y="1049"/>
                  </a:lnTo>
                  <a:lnTo>
                    <a:pt x="1495" y="1062"/>
                  </a:lnTo>
                  <a:lnTo>
                    <a:pt x="1536" y="1076"/>
                  </a:lnTo>
                  <a:lnTo>
                    <a:pt x="1572" y="1085"/>
                  </a:lnTo>
                  <a:lnTo>
                    <a:pt x="1602" y="1094"/>
                  </a:lnTo>
                  <a:lnTo>
                    <a:pt x="1625" y="1100"/>
                  </a:lnTo>
                  <a:lnTo>
                    <a:pt x="1639" y="1105"/>
                  </a:lnTo>
                  <a:lnTo>
                    <a:pt x="1644" y="1107"/>
                  </a:lnTo>
                  <a:lnTo>
                    <a:pt x="1647" y="1107"/>
                  </a:lnTo>
                  <a:lnTo>
                    <a:pt x="1652" y="1107"/>
                  </a:lnTo>
                  <a:lnTo>
                    <a:pt x="1657" y="1104"/>
                  </a:lnTo>
                  <a:lnTo>
                    <a:pt x="1658" y="1100"/>
                  </a:lnTo>
                  <a:lnTo>
                    <a:pt x="1660" y="1095"/>
                  </a:lnTo>
                  <a:lnTo>
                    <a:pt x="1658" y="1090"/>
                  </a:lnTo>
                  <a:lnTo>
                    <a:pt x="1657" y="1087"/>
                  </a:lnTo>
                  <a:lnTo>
                    <a:pt x="1653" y="1084"/>
                  </a:lnTo>
                  <a:lnTo>
                    <a:pt x="1331" y="924"/>
                  </a:lnTo>
                  <a:lnTo>
                    <a:pt x="1305" y="911"/>
                  </a:lnTo>
                  <a:lnTo>
                    <a:pt x="1335" y="907"/>
                  </a:lnTo>
                  <a:lnTo>
                    <a:pt x="1444" y="889"/>
                  </a:lnTo>
                  <a:lnTo>
                    <a:pt x="1548" y="868"/>
                  </a:lnTo>
                  <a:lnTo>
                    <a:pt x="1510" y="848"/>
                  </a:lnTo>
                  <a:lnTo>
                    <a:pt x="1488" y="838"/>
                  </a:lnTo>
                  <a:lnTo>
                    <a:pt x="1511" y="832"/>
                  </a:lnTo>
                  <a:lnTo>
                    <a:pt x="1596" y="807"/>
                  </a:lnTo>
                  <a:lnTo>
                    <a:pt x="1672" y="781"/>
                  </a:lnTo>
                  <a:lnTo>
                    <a:pt x="1739" y="751"/>
                  </a:lnTo>
                  <a:lnTo>
                    <a:pt x="1797" y="718"/>
                  </a:lnTo>
                  <a:lnTo>
                    <a:pt x="1845" y="683"/>
                  </a:lnTo>
                  <a:lnTo>
                    <a:pt x="1883" y="647"/>
                  </a:lnTo>
                  <a:lnTo>
                    <a:pt x="1911" y="609"/>
                  </a:lnTo>
                  <a:lnTo>
                    <a:pt x="1929" y="571"/>
                  </a:lnTo>
                  <a:lnTo>
                    <a:pt x="1934" y="532"/>
                  </a:lnTo>
                  <a:lnTo>
                    <a:pt x="1929" y="494"/>
                  </a:lnTo>
                  <a:lnTo>
                    <a:pt x="1913" y="456"/>
                  </a:lnTo>
                  <a:lnTo>
                    <a:pt x="1888" y="420"/>
                  </a:lnTo>
                  <a:lnTo>
                    <a:pt x="1852" y="385"/>
                  </a:lnTo>
                  <a:lnTo>
                    <a:pt x="1809" y="352"/>
                  </a:lnTo>
                  <a:lnTo>
                    <a:pt x="1756" y="321"/>
                  </a:lnTo>
                  <a:lnTo>
                    <a:pt x="1696" y="293"/>
                  </a:lnTo>
                  <a:lnTo>
                    <a:pt x="1629" y="267"/>
                  </a:lnTo>
                  <a:lnTo>
                    <a:pt x="1554" y="243"/>
                  </a:lnTo>
                  <a:lnTo>
                    <a:pt x="1473" y="222"/>
                  </a:lnTo>
                  <a:lnTo>
                    <a:pt x="1388" y="204"/>
                  </a:lnTo>
                  <a:lnTo>
                    <a:pt x="1297" y="191"/>
                  </a:lnTo>
                  <a:lnTo>
                    <a:pt x="1201" y="179"/>
                  </a:lnTo>
                  <a:lnTo>
                    <a:pt x="1100" y="173"/>
                  </a:lnTo>
                  <a:lnTo>
                    <a:pt x="1100" y="173"/>
                  </a:lnTo>
                  <a:lnTo>
                    <a:pt x="976" y="169"/>
                  </a:lnTo>
                  <a:lnTo>
                    <a:pt x="879" y="171"/>
                  </a:lnTo>
                  <a:lnTo>
                    <a:pt x="876" y="171"/>
                  </a:lnTo>
                  <a:lnTo>
                    <a:pt x="872" y="169"/>
                  </a:lnTo>
                  <a:lnTo>
                    <a:pt x="871" y="166"/>
                  </a:lnTo>
                  <a:lnTo>
                    <a:pt x="869" y="163"/>
                  </a:lnTo>
                  <a:lnTo>
                    <a:pt x="869" y="159"/>
                  </a:lnTo>
                  <a:lnTo>
                    <a:pt x="872" y="156"/>
                  </a:lnTo>
                  <a:lnTo>
                    <a:pt x="874" y="154"/>
                  </a:lnTo>
                  <a:lnTo>
                    <a:pt x="877" y="153"/>
                  </a:lnTo>
                  <a:lnTo>
                    <a:pt x="976" y="151"/>
                  </a:lnTo>
                  <a:lnTo>
                    <a:pt x="1032" y="153"/>
                  </a:lnTo>
                  <a:lnTo>
                    <a:pt x="1003" y="143"/>
                  </a:lnTo>
                  <a:lnTo>
                    <a:pt x="966" y="131"/>
                  </a:lnTo>
                  <a:lnTo>
                    <a:pt x="928" y="120"/>
                  </a:lnTo>
                  <a:lnTo>
                    <a:pt x="889" y="107"/>
                  </a:lnTo>
                  <a:lnTo>
                    <a:pt x="848" y="95"/>
                  </a:lnTo>
                  <a:lnTo>
                    <a:pt x="806" y="82"/>
                  </a:lnTo>
                  <a:lnTo>
                    <a:pt x="767" y="69"/>
                  </a:lnTo>
                  <a:lnTo>
                    <a:pt x="729" y="57"/>
                  </a:lnTo>
                  <a:lnTo>
                    <a:pt x="694" y="46"/>
                  </a:lnTo>
                  <a:lnTo>
                    <a:pt x="663" y="37"/>
                  </a:lnTo>
                  <a:lnTo>
                    <a:pt x="636" y="29"/>
                  </a:lnTo>
                  <a:lnTo>
                    <a:pt x="618" y="23"/>
                  </a:lnTo>
                  <a:lnTo>
                    <a:pt x="605" y="19"/>
                  </a:lnTo>
                  <a:lnTo>
                    <a:pt x="600" y="18"/>
                  </a:lnTo>
                  <a:lnTo>
                    <a:pt x="597" y="16"/>
                  </a:lnTo>
                  <a:lnTo>
                    <a:pt x="187" y="16"/>
                  </a:lnTo>
                  <a:close/>
                  <a:moveTo>
                    <a:pt x="187" y="0"/>
                  </a:moveTo>
                  <a:lnTo>
                    <a:pt x="597" y="0"/>
                  </a:lnTo>
                  <a:lnTo>
                    <a:pt x="601" y="0"/>
                  </a:lnTo>
                  <a:lnTo>
                    <a:pt x="606" y="0"/>
                  </a:lnTo>
                  <a:lnTo>
                    <a:pt x="1100" y="154"/>
                  </a:lnTo>
                  <a:lnTo>
                    <a:pt x="1199" y="161"/>
                  </a:lnTo>
                  <a:lnTo>
                    <a:pt x="1295" y="173"/>
                  </a:lnTo>
                  <a:lnTo>
                    <a:pt x="1386" y="186"/>
                  </a:lnTo>
                  <a:lnTo>
                    <a:pt x="1473" y="204"/>
                  </a:lnTo>
                  <a:lnTo>
                    <a:pt x="1556" y="225"/>
                  </a:lnTo>
                  <a:lnTo>
                    <a:pt x="1634" y="250"/>
                  </a:lnTo>
                  <a:lnTo>
                    <a:pt x="1703" y="276"/>
                  </a:lnTo>
                  <a:lnTo>
                    <a:pt x="1767" y="308"/>
                  </a:lnTo>
                  <a:lnTo>
                    <a:pt x="1824" y="341"/>
                  </a:lnTo>
                  <a:lnTo>
                    <a:pt x="1868" y="377"/>
                  </a:lnTo>
                  <a:lnTo>
                    <a:pt x="1904" y="413"/>
                  </a:lnTo>
                  <a:lnTo>
                    <a:pt x="1931" y="451"/>
                  </a:lnTo>
                  <a:lnTo>
                    <a:pt x="1947" y="491"/>
                  </a:lnTo>
                  <a:lnTo>
                    <a:pt x="1952" y="532"/>
                  </a:lnTo>
                  <a:lnTo>
                    <a:pt x="1947" y="573"/>
                  </a:lnTo>
                  <a:lnTo>
                    <a:pt x="1931" y="613"/>
                  </a:lnTo>
                  <a:lnTo>
                    <a:pt x="1903" y="652"/>
                  </a:lnTo>
                  <a:lnTo>
                    <a:pt x="1865" y="690"/>
                  </a:lnTo>
                  <a:lnTo>
                    <a:pt x="1819" y="725"/>
                  </a:lnTo>
                  <a:lnTo>
                    <a:pt x="1761" y="758"/>
                  </a:lnTo>
                  <a:lnTo>
                    <a:pt x="1695" y="789"/>
                  </a:lnTo>
                  <a:lnTo>
                    <a:pt x="1620" y="817"/>
                  </a:lnTo>
                  <a:lnTo>
                    <a:pt x="1538" y="843"/>
                  </a:lnTo>
                  <a:lnTo>
                    <a:pt x="1577" y="863"/>
                  </a:lnTo>
                  <a:lnTo>
                    <a:pt x="1599" y="873"/>
                  </a:lnTo>
                  <a:lnTo>
                    <a:pt x="1576" y="879"/>
                  </a:lnTo>
                  <a:lnTo>
                    <a:pt x="1473" y="903"/>
                  </a:lnTo>
                  <a:lnTo>
                    <a:pt x="1366" y="921"/>
                  </a:lnTo>
                  <a:lnTo>
                    <a:pt x="1386" y="931"/>
                  </a:lnTo>
                  <a:lnTo>
                    <a:pt x="1409" y="944"/>
                  </a:lnTo>
                  <a:lnTo>
                    <a:pt x="1437" y="957"/>
                  </a:lnTo>
                  <a:lnTo>
                    <a:pt x="1465" y="972"/>
                  </a:lnTo>
                  <a:lnTo>
                    <a:pt x="1497" y="987"/>
                  </a:lnTo>
                  <a:lnTo>
                    <a:pt x="1526" y="1001"/>
                  </a:lnTo>
                  <a:lnTo>
                    <a:pt x="1556" y="1016"/>
                  </a:lnTo>
                  <a:lnTo>
                    <a:pt x="1584" y="1029"/>
                  </a:lnTo>
                  <a:lnTo>
                    <a:pt x="1609" y="1043"/>
                  </a:lnTo>
                  <a:lnTo>
                    <a:pt x="1630" y="1052"/>
                  </a:lnTo>
                  <a:lnTo>
                    <a:pt x="1647" y="1061"/>
                  </a:lnTo>
                  <a:lnTo>
                    <a:pt x="1657" y="1066"/>
                  </a:lnTo>
                  <a:lnTo>
                    <a:pt x="1660" y="1067"/>
                  </a:lnTo>
                  <a:lnTo>
                    <a:pt x="1670" y="1074"/>
                  </a:lnTo>
                  <a:lnTo>
                    <a:pt x="1677" y="1084"/>
                  </a:lnTo>
                  <a:lnTo>
                    <a:pt x="1678" y="1095"/>
                  </a:lnTo>
                  <a:lnTo>
                    <a:pt x="1677" y="1104"/>
                  </a:lnTo>
                  <a:lnTo>
                    <a:pt x="1673" y="1110"/>
                  </a:lnTo>
                  <a:lnTo>
                    <a:pt x="1668" y="1117"/>
                  </a:lnTo>
                  <a:lnTo>
                    <a:pt x="1662" y="1122"/>
                  </a:lnTo>
                  <a:lnTo>
                    <a:pt x="1655" y="1123"/>
                  </a:lnTo>
                  <a:lnTo>
                    <a:pt x="1647" y="1125"/>
                  </a:lnTo>
                  <a:lnTo>
                    <a:pt x="1642" y="1125"/>
                  </a:lnTo>
                  <a:lnTo>
                    <a:pt x="1639" y="1123"/>
                  </a:lnTo>
                  <a:lnTo>
                    <a:pt x="909" y="911"/>
                  </a:lnTo>
                  <a:lnTo>
                    <a:pt x="909" y="911"/>
                  </a:lnTo>
                  <a:lnTo>
                    <a:pt x="805" y="906"/>
                  </a:lnTo>
                  <a:lnTo>
                    <a:pt x="704" y="896"/>
                  </a:lnTo>
                  <a:lnTo>
                    <a:pt x="606" y="884"/>
                  </a:lnTo>
                  <a:lnTo>
                    <a:pt x="514" y="866"/>
                  </a:lnTo>
                  <a:lnTo>
                    <a:pt x="425" y="847"/>
                  </a:lnTo>
                  <a:lnTo>
                    <a:pt x="344" y="822"/>
                  </a:lnTo>
                  <a:lnTo>
                    <a:pt x="268" y="794"/>
                  </a:lnTo>
                  <a:lnTo>
                    <a:pt x="199" y="762"/>
                  </a:lnTo>
                  <a:lnTo>
                    <a:pt x="139" y="728"/>
                  </a:lnTo>
                  <a:lnTo>
                    <a:pt x="90" y="692"/>
                  </a:lnTo>
                  <a:lnTo>
                    <a:pt x="52" y="654"/>
                  </a:lnTo>
                  <a:lnTo>
                    <a:pt x="23" y="614"/>
                  </a:lnTo>
                  <a:lnTo>
                    <a:pt x="5" y="573"/>
                  </a:lnTo>
                  <a:lnTo>
                    <a:pt x="0" y="532"/>
                  </a:lnTo>
                  <a:lnTo>
                    <a:pt x="0" y="532"/>
                  </a:lnTo>
                  <a:lnTo>
                    <a:pt x="5" y="491"/>
                  </a:lnTo>
                  <a:lnTo>
                    <a:pt x="22" y="449"/>
                  </a:lnTo>
                  <a:lnTo>
                    <a:pt x="50" y="412"/>
                  </a:lnTo>
                  <a:lnTo>
                    <a:pt x="88" y="374"/>
                  </a:lnTo>
                  <a:lnTo>
                    <a:pt x="136" y="337"/>
                  </a:lnTo>
                  <a:lnTo>
                    <a:pt x="192" y="304"/>
                  </a:lnTo>
                  <a:lnTo>
                    <a:pt x="258" y="273"/>
                  </a:lnTo>
                  <a:lnTo>
                    <a:pt x="334" y="245"/>
                  </a:lnTo>
                  <a:lnTo>
                    <a:pt x="288" y="229"/>
                  </a:lnTo>
                  <a:lnTo>
                    <a:pt x="263" y="220"/>
                  </a:lnTo>
                  <a:lnTo>
                    <a:pt x="289" y="212"/>
                  </a:lnTo>
                  <a:lnTo>
                    <a:pt x="383" y="184"/>
                  </a:lnTo>
                  <a:lnTo>
                    <a:pt x="484" y="161"/>
                  </a:lnTo>
                  <a:lnTo>
                    <a:pt x="461" y="153"/>
                  </a:lnTo>
                  <a:lnTo>
                    <a:pt x="433" y="143"/>
                  </a:lnTo>
                  <a:lnTo>
                    <a:pt x="402" y="131"/>
                  </a:lnTo>
                  <a:lnTo>
                    <a:pt x="367" y="120"/>
                  </a:lnTo>
                  <a:lnTo>
                    <a:pt x="332" y="108"/>
                  </a:lnTo>
                  <a:lnTo>
                    <a:pt x="299" y="95"/>
                  </a:lnTo>
                  <a:lnTo>
                    <a:pt x="266" y="84"/>
                  </a:lnTo>
                  <a:lnTo>
                    <a:pt x="238" y="74"/>
                  </a:lnTo>
                  <a:lnTo>
                    <a:pt x="213" y="65"/>
                  </a:lnTo>
                  <a:lnTo>
                    <a:pt x="194" y="57"/>
                  </a:lnTo>
                  <a:lnTo>
                    <a:pt x="180" y="54"/>
                  </a:lnTo>
                  <a:lnTo>
                    <a:pt x="177" y="52"/>
                  </a:lnTo>
                  <a:lnTo>
                    <a:pt x="170" y="49"/>
                  </a:lnTo>
                  <a:lnTo>
                    <a:pt x="165" y="44"/>
                  </a:lnTo>
                  <a:lnTo>
                    <a:pt x="162" y="39"/>
                  </a:lnTo>
                  <a:lnTo>
                    <a:pt x="161" y="33"/>
                  </a:lnTo>
                  <a:lnTo>
                    <a:pt x="159" y="26"/>
                  </a:lnTo>
                  <a:lnTo>
                    <a:pt x="164" y="13"/>
                  </a:lnTo>
                  <a:lnTo>
                    <a:pt x="174" y="3"/>
                  </a:lnTo>
                  <a:lnTo>
                    <a:pt x="18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33"/>
            <p:cNvSpPr>
              <a:spLocks noEditPoints="1"/>
            </p:cNvSpPr>
            <p:nvPr/>
          </p:nvSpPr>
          <p:spPr bwMode="auto">
            <a:xfrm>
              <a:off x="4370388" y="3943350"/>
              <a:ext cx="217488" cy="219075"/>
            </a:xfrm>
            <a:custGeom>
              <a:avLst/>
              <a:gdLst>
                <a:gd name="T0" fmla="*/ 59 w 137"/>
                <a:gd name="T1" fmla="*/ 39 h 138"/>
                <a:gd name="T2" fmla="*/ 56 w 137"/>
                <a:gd name="T3" fmla="*/ 66 h 138"/>
                <a:gd name="T4" fmla="*/ 69 w 137"/>
                <a:gd name="T5" fmla="*/ 66 h 138"/>
                <a:gd name="T6" fmla="*/ 77 w 137"/>
                <a:gd name="T7" fmla="*/ 62 h 138"/>
                <a:gd name="T8" fmla="*/ 82 w 137"/>
                <a:gd name="T9" fmla="*/ 57 h 138"/>
                <a:gd name="T10" fmla="*/ 82 w 137"/>
                <a:gd name="T11" fmla="*/ 49 h 138"/>
                <a:gd name="T12" fmla="*/ 79 w 137"/>
                <a:gd name="T13" fmla="*/ 43 h 138"/>
                <a:gd name="T14" fmla="*/ 71 w 137"/>
                <a:gd name="T15" fmla="*/ 39 h 138"/>
                <a:gd name="T16" fmla="*/ 66 w 137"/>
                <a:gd name="T17" fmla="*/ 29 h 138"/>
                <a:gd name="T18" fmla="*/ 80 w 137"/>
                <a:gd name="T19" fmla="*/ 31 h 138"/>
                <a:gd name="T20" fmla="*/ 89 w 137"/>
                <a:gd name="T21" fmla="*/ 36 h 138"/>
                <a:gd name="T22" fmla="*/ 95 w 137"/>
                <a:gd name="T23" fmla="*/ 44 h 138"/>
                <a:gd name="T24" fmla="*/ 95 w 137"/>
                <a:gd name="T25" fmla="*/ 57 h 138"/>
                <a:gd name="T26" fmla="*/ 90 w 137"/>
                <a:gd name="T27" fmla="*/ 66 h 138"/>
                <a:gd name="T28" fmla="*/ 80 w 137"/>
                <a:gd name="T29" fmla="*/ 71 h 138"/>
                <a:gd name="T30" fmla="*/ 85 w 137"/>
                <a:gd name="T31" fmla="*/ 72 h 138"/>
                <a:gd name="T32" fmla="*/ 92 w 137"/>
                <a:gd name="T33" fmla="*/ 82 h 138"/>
                <a:gd name="T34" fmla="*/ 95 w 137"/>
                <a:gd name="T35" fmla="*/ 97 h 138"/>
                <a:gd name="T36" fmla="*/ 99 w 137"/>
                <a:gd name="T37" fmla="*/ 107 h 138"/>
                <a:gd name="T38" fmla="*/ 85 w 137"/>
                <a:gd name="T39" fmla="*/ 109 h 138"/>
                <a:gd name="T40" fmla="*/ 82 w 137"/>
                <a:gd name="T41" fmla="*/ 99 h 138"/>
                <a:gd name="T42" fmla="*/ 79 w 137"/>
                <a:gd name="T43" fmla="*/ 84 h 138"/>
                <a:gd name="T44" fmla="*/ 74 w 137"/>
                <a:gd name="T45" fmla="*/ 77 h 138"/>
                <a:gd name="T46" fmla="*/ 64 w 137"/>
                <a:gd name="T47" fmla="*/ 76 h 138"/>
                <a:gd name="T48" fmla="*/ 56 w 137"/>
                <a:gd name="T49" fmla="*/ 109 h 138"/>
                <a:gd name="T50" fmla="*/ 42 w 137"/>
                <a:gd name="T51" fmla="*/ 31 h 138"/>
                <a:gd name="T52" fmla="*/ 57 w 137"/>
                <a:gd name="T53" fmla="*/ 29 h 138"/>
                <a:gd name="T54" fmla="*/ 69 w 137"/>
                <a:gd name="T55" fmla="*/ 10 h 138"/>
                <a:gd name="T56" fmla="*/ 29 w 137"/>
                <a:gd name="T57" fmla="*/ 28 h 138"/>
                <a:gd name="T58" fmla="*/ 13 w 137"/>
                <a:gd name="T59" fmla="*/ 69 h 138"/>
                <a:gd name="T60" fmla="*/ 29 w 137"/>
                <a:gd name="T61" fmla="*/ 110 h 138"/>
                <a:gd name="T62" fmla="*/ 69 w 137"/>
                <a:gd name="T63" fmla="*/ 127 h 138"/>
                <a:gd name="T64" fmla="*/ 109 w 137"/>
                <a:gd name="T65" fmla="*/ 110 h 138"/>
                <a:gd name="T66" fmla="*/ 123 w 137"/>
                <a:gd name="T67" fmla="*/ 69 h 138"/>
                <a:gd name="T68" fmla="*/ 109 w 137"/>
                <a:gd name="T69" fmla="*/ 28 h 138"/>
                <a:gd name="T70" fmla="*/ 69 w 137"/>
                <a:gd name="T71" fmla="*/ 10 h 138"/>
                <a:gd name="T72" fmla="*/ 69 w 137"/>
                <a:gd name="T73" fmla="*/ 0 h 138"/>
                <a:gd name="T74" fmla="*/ 90 w 137"/>
                <a:gd name="T75" fmla="*/ 3 h 138"/>
                <a:gd name="T76" fmla="*/ 123 w 137"/>
                <a:gd name="T77" fmla="*/ 28 h 138"/>
                <a:gd name="T78" fmla="*/ 137 w 137"/>
                <a:gd name="T79" fmla="*/ 69 h 138"/>
                <a:gd name="T80" fmla="*/ 123 w 137"/>
                <a:gd name="T81" fmla="*/ 110 h 138"/>
                <a:gd name="T82" fmla="*/ 90 w 137"/>
                <a:gd name="T83" fmla="*/ 135 h 138"/>
                <a:gd name="T84" fmla="*/ 47 w 137"/>
                <a:gd name="T85" fmla="*/ 135 h 138"/>
                <a:gd name="T86" fmla="*/ 13 w 137"/>
                <a:gd name="T87" fmla="*/ 110 h 138"/>
                <a:gd name="T88" fmla="*/ 0 w 137"/>
                <a:gd name="T89" fmla="*/ 69 h 138"/>
                <a:gd name="T90" fmla="*/ 13 w 137"/>
                <a:gd name="T91" fmla="*/ 28 h 138"/>
                <a:gd name="T92" fmla="*/ 47 w 137"/>
                <a:gd name="T93"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 h="138">
                  <a:moveTo>
                    <a:pt x="64" y="39"/>
                  </a:moveTo>
                  <a:lnTo>
                    <a:pt x="59" y="39"/>
                  </a:lnTo>
                  <a:lnTo>
                    <a:pt x="56" y="39"/>
                  </a:lnTo>
                  <a:lnTo>
                    <a:pt x="56" y="66"/>
                  </a:lnTo>
                  <a:lnTo>
                    <a:pt x="64" y="66"/>
                  </a:lnTo>
                  <a:lnTo>
                    <a:pt x="69" y="66"/>
                  </a:lnTo>
                  <a:lnTo>
                    <a:pt x="74" y="64"/>
                  </a:lnTo>
                  <a:lnTo>
                    <a:pt x="77" y="62"/>
                  </a:lnTo>
                  <a:lnTo>
                    <a:pt x="80" y="61"/>
                  </a:lnTo>
                  <a:lnTo>
                    <a:pt x="82" y="57"/>
                  </a:lnTo>
                  <a:lnTo>
                    <a:pt x="84" y="53"/>
                  </a:lnTo>
                  <a:lnTo>
                    <a:pt x="82" y="49"/>
                  </a:lnTo>
                  <a:lnTo>
                    <a:pt x="82" y="46"/>
                  </a:lnTo>
                  <a:lnTo>
                    <a:pt x="79" y="43"/>
                  </a:lnTo>
                  <a:lnTo>
                    <a:pt x="76" y="41"/>
                  </a:lnTo>
                  <a:lnTo>
                    <a:pt x="71" y="39"/>
                  </a:lnTo>
                  <a:lnTo>
                    <a:pt x="64" y="39"/>
                  </a:lnTo>
                  <a:close/>
                  <a:moveTo>
                    <a:pt x="66" y="29"/>
                  </a:moveTo>
                  <a:lnTo>
                    <a:pt x="74" y="29"/>
                  </a:lnTo>
                  <a:lnTo>
                    <a:pt x="80" y="31"/>
                  </a:lnTo>
                  <a:lnTo>
                    <a:pt x="85" y="33"/>
                  </a:lnTo>
                  <a:lnTo>
                    <a:pt x="89" y="36"/>
                  </a:lnTo>
                  <a:lnTo>
                    <a:pt x="94" y="39"/>
                  </a:lnTo>
                  <a:lnTo>
                    <a:pt x="95" y="44"/>
                  </a:lnTo>
                  <a:lnTo>
                    <a:pt x="95" y="51"/>
                  </a:lnTo>
                  <a:lnTo>
                    <a:pt x="95" y="57"/>
                  </a:lnTo>
                  <a:lnTo>
                    <a:pt x="94" y="62"/>
                  </a:lnTo>
                  <a:lnTo>
                    <a:pt x="90" y="66"/>
                  </a:lnTo>
                  <a:lnTo>
                    <a:pt x="85" y="69"/>
                  </a:lnTo>
                  <a:lnTo>
                    <a:pt x="80" y="71"/>
                  </a:lnTo>
                  <a:lnTo>
                    <a:pt x="80" y="71"/>
                  </a:lnTo>
                  <a:lnTo>
                    <a:pt x="85" y="72"/>
                  </a:lnTo>
                  <a:lnTo>
                    <a:pt x="89" y="76"/>
                  </a:lnTo>
                  <a:lnTo>
                    <a:pt x="92" y="82"/>
                  </a:lnTo>
                  <a:lnTo>
                    <a:pt x="94" y="89"/>
                  </a:lnTo>
                  <a:lnTo>
                    <a:pt x="95" y="97"/>
                  </a:lnTo>
                  <a:lnTo>
                    <a:pt x="97" y="102"/>
                  </a:lnTo>
                  <a:lnTo>
                    <a:pt x="99" y="107"/>
                  </a:lnTo>
                  <a:lnTo>
                    <a:pt x="99" y="109"/>
                  </a:lnTo>
                  <a:lnTo>
                    <a:pt x="85" y="109"/>
                  </a:lnTo>
                  <a:lnTo>
                    <a:pt x="84" y="105"/>
                  </a:lnTo>
                  <a:lnTo>
                    <a:pt x="82" y="99"/>
                  </a:lnTo>
                  <a:lnTo>
                    <a:pt x="80" y="89"/>
                  </a:lnTo>
                  <a:lnTo>
                    <a:pt x="79" y="84"/>
                  </a:lnTo>
                  <a:lnTo>
                    <a:pt x="77" y="81"/>
                  </a:lnTo>
                  <a:lnTo>
                    <a:pt x="74" y="77"/>
                  </a:lnTo>
                  <a:lnTo>
                    <a:pt x="69" y="76"/>
                  </a:lnTo>
                  <a:lnTo>
                    <a:pt x="64" y="76"/>
                  </a:lnTo>
                  <a:lnTo>
                    <a:pt x="56" y="76"/>
                  </a:lnTo>
                  <a:lnTo>
                    <a:pt x="56" y="109"/>
                  </a:lnTo>
                  <a:lnTo>
                    <a:pt x="42" y="109"/>
                  </a:lnTo>
                  <a:lnTo>
                    <a:pt x="42" y="31"/>
                  </a:lnTo>
                  <a:lnTo>
                    <a:pt x="49" y="31"/>
                  </a:lnTo>
                  <a:lnTo>
                    <a:pt x="57" y="29"/>
                  </a:lnTo>
                  <a:lnTo>
                    <a:pt x="66" y="29"/>
                  </a:lnTo>
                  <a:close/>
                  <a:moveTo>
                    <a:pt x="69" y="10"/>
                  </a:moveTo>
                  <a:lnTo>
                    <a:pt x="47" y="15"/>
                  </a:lnTo>
                  <a:lnTo>
                    <a:pt x="29" y="28"/>
                  </a:lnTo>
                  <a:lnTo>
                    <a:pt x="18" y="46"/>
                  </a:lnTo>
                  <a:lnTo>
                    <a:pt x="13" y="69"/>
                  </a:lnTo>
                  <a:lnTo>
                    <a:pt x="18" y="92"/>
                  </a:lnTo>
                  <a:lnTo>
                    <a:pt x="29" y="110"/>
                  </a:lnTo>
                  <a:lnTo>
                    <a:pt x="47" y="122"/>
                  </a:lnTo>
                  <a:lnTo>
                    <a:pt x="69" y="127"/>
                  </a:lnTo>
                  <a:lnTo>
                    <a:pt x="90" y="123"/>
                  </a:lnTo>
                  <a:lnTo>
                    <a:pt x="109" y="110"/>
                  </a:lnTo>
                  <a:lnTo>
                    <a:pt x="120" y="92"/>
                  </a:lnTo>
                  <a:lnTo>
                    <a:pt x="123" y="69"/>
                  </a:lnTo>
                  <a:lnTo>
                    <a:pt x="120" y="46"/>
                  </a:lnTo>
                  <a:lnTo>
                    <a:pt x="109" y="28"/>
                  </a:lnTo>
                  <a:lnTo>
                    <a:pt x="90" y="15"/>
                  </a:lnTo>
                  <a:lnTo>
                    <a:pt x="69" y="10"/>
                  </a:lnTo>
                  <a:lnTo>
                    <a:pt x="69" y="10"/>
                  </a:lnTo>
                  <a:close/>
                  <a:moveTo>
                    <a:pt x="69" y="0"/>
                  </a:moveTo>
                  <a:lnTo>
                    <a:pt x="69" y="0"/>
                  </a:lnTo>
                  <a:lnTo>
                    <a:pt x="90" y="3"/>
                  </a:lnTo>
                  <a:lnTo>
                    <a:pt x="109" y="13"/>
                  </a:lnTo>
                  <a:lnTo>
                    <a:pt x="123" y="28"/>
                  </a:lnTo>
                  <a:lnTo>
                    <a:pt x="133" y="46"/>
                  </a:lnTo>
                  <a:lnTo>
                    <a:pt x="137" y="69"/>
                  </a:lnTo>
                  <a:lnTo>
                    <a:pt x="133" y="90"/>
                  </a:lnTo>
                  <a:lnTo>
                    <a:pt x="123" y="110"/>
                  </a:lnTo>
                  <a:lnTo>
                    <a:pt x="109" y="125"/>
                  </a:lnTo>
                  <a:lnTo>
                    <a:pt x="90" y="135"/>
                  </a:lnTo>
                  <a:lnTo>
                    <a:pt x="69" y="138"/>
                  </a:lnTo>
                  <a:lnTo>
                    <a:pt x="47" y="135"/>
                  </a:lnTo>
                  <a:lnTo>
                    <a:pt x="28" y="125"/>
                  </a:lnTo>
                  <a:lnTo>
                    <a:pt x="13" y="110"/>
                  </a:lnTo>
                  <a:lnTo>
                    <a:pt x="3" y="90"/>
                  </a:lnTo>
                  <a:lnTo>
                    <a:pt x="0" y="69"/>
                  </a:lnTo>
                  <a:lnTo>
                    <a:pt x="3" y="46"/>
                  </a:lnTo>
                  <a:lnTo>
                    <a:pt x="13" y="28"/>
                  </a:lnTo>
                  <a:lnTo>
                    <a:pt x="28" y="13"/>
                  </a:lnTo>
                  <a:lnTo>
                    <a:pt x="47" y="3"/>
                  </a:lnTo>
                  <a:lnTo>
                    <a:pt x="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Shape 377"/>
          <p:cNvSpPr/>
          <p:nvPr/>
        </p:nvSpPr>
        <p:spPr>
          <a:xfrm>
            <a:off x="4956314" y="-2455"/>
            <a:ext cx="2279374" cy="151710"/>
          </a:xfrm>
          <a:custGeom>
            <a:avLst/>
            <a:gdLst/>
            <a:ahLst/>
            <a:cxnLst/>
            <a:rect l="0" t="0" r="0" b="0"/>
            <a:pathLst>
              <a:path w="120000" h="120000" extrusionOk="0">
                <a:moveTo>
                  <a:pt x="0" y="0"/>
                </a:moveTo>
                <a:lnTo>
                  <a:pt x="120000" y="0"/>
                </a:lnTo>
                <a:lnTo>
                  <a:pt x="91521" y="65530"/>
                </a:lnTo>
                <a:cubicBezTo>
                  <a:pt x="59907" y="142787"/>
                  <a:pt x="58913" y="135318"/>
                  <a:pt x="26181" y="59228"/>
                </a:cubicBezTo>
                <a:close/>
              </a:path>
            </a:pathLst>
          </a:custGeom>
          <a:gradFill flip="none" rotWithShape="1">
            <a:gsLst>
              <a:gs pos="0">
                <a:schemeClr val="accent1">
                  <a:shade val="67500"/>
                  <a:satMod val="115000"/>
                </a:schemeClr>
              </a:gs>
              <a:gs pos="96629">
                <a:srgbClr val="FFC000"/>
              </a:gs>
              <a:gs pos="59000">
                <a:schemeClr val="accent1">
                  <a:shade val="100000"/>
                  <a:satMod val="115000"/>
                </a:schemeClr>
              </a:gs>
            </a:gsLst>
            <a:lin ang="0" scaled="1"/>
            <a:tileRect/>
          </a:gradFill>
          <a:ln>
            <a:noFill/>
          </a:ln>
          <a:effectLst/>
        </p:spPr>
        <p:txBody>
          <a:bodyPr wrap="square" lIns="91425" tIns="45700" rIns="91425" bIns="45700" anchor="ctr" anchorCtr="0">
            <a:noAutofit/>
          </a:bodyPr>
          <a:lstStyle/>
          <a:p>
            <a:pPr marR="0" lvl="0" indent="0" algn="ctr">
              <a:spcBef>
                <a:spcPts val="0"/>
              </a:spcBef>
              <a:buNone/>
            </a:pPr>
            <a:endParaRPr sz="2700">
              <a:solidFill>
                <a:schemeClr val="lt1"/>
              </a:solidFill>
              <a:latin typeface="Nunito Light"/>
              <a:ea typeface="Nunito Light"/>
              <a:cs typeface="Nunito Light"/>
              <a:sym typeface="Nunito Light"/>
            </a:endParaRP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4232" r:id="rId1"/>
    <p:sldLayoutId id="2147484208" r:id="rId2"/>
    <p:sldLayoutId id="2147484241" r:id="rId3"/>
    <p:sldLayoutId id="2147484209" r:id="rId4"/>
    <p:sldLayoutId id="2147483654" r:id="rId5"/>
    <p:sldLayoutId id="2147484205" r:id="rId6"/>
    <p:sldLayoutId id="2147483678" r:id="rId7"/>
    <p:sldLayoutId id="2147484211" r:id="rId8"/>
    <p:sldLayoutId id="2147484212" r:id="rId9"/>
    <p:sldLayoutId id="2147484219" r:id="rId10"/>
    <p:sldLayoutId id="2147484220" r:id="rId11"/>
    <p:sldLayoutId id="2147484221" r:id="rId12"/>
    <p:sldLayoutId id="2147484222" r:id="rId13"/>
    <p:sldLayoutId id="2147484247" r:id="rId14"/>
    <p:sldLayoutId id="2147484233" r:id="rId15"/>
    <p:sldLayoutId id="2147484225" r:id="rId16"/>
    <p:sldLayoutId id="2147484226" r:id="rId17"/>
    <p:sldLayoutId id="2147484227" r:id="rId18"/>
    <p:sldLayoutId id="2147484228" r:id="rId19"/>
    <p:sldLayoutId id="2147484229" r:id="rId20"/>
    <p:sldLayoutId id="2147484248" r:id="rId21"/>
    <p:sldLayoutId id="2147484199" r:id="rId22"/>
    <p:sldLayoutId id="2147484234" r:id="rId23"/>
    <p:sldLayoutId id="2147484201" r:id="rId24"/>
  </p:sldLayoutIdLst>
  <mc:AlternateContent xmlns:mc="http://schemas.openxmlformats.org/markup-compatibility/2006" xmlns:p14="http://schemas.microsoft.com/office/powerpoint/2010/main">
    <mc:Choice Requires="p14">
      <p:transition p14:dur="0"/>
    </mc:Choice>
    <mc:Fallback xmlns="">
      <p:transition/>
    </mc:Fallback>
  </mc:AlternateContent>
  <p:hf sldNum="0" hdr="0" dt="0"/>
  <p:txStyles>
    <p:titleStyle>
      <a:lvl1pPr algn="ctr" defTabSz="914400" rtl="0" eaLnBrk="1" latinLnBrk="0" hangingPunct="1">
        <a:lnSpc>
          <a:spcPct val="82000"/>
        </a:lnSpc>
        <a:spcBef>
          <a:spcPct val="0"/>
        </a:spcBef>
        <a:buNone/>
        <a:defRPr sz="3800" kern="1200" spc="-40" baseline="0">
          <a:solidFill>
            <a:schemeClr val="tx1">
              <a:lumMod val="85000"/>
              <a:lumOff val="15000"/>
            </a:schemeClr>
          </a:solidFill>
          <a:latin typeface="Calibri" panose="020F0502020204030204" pitchFamily="34" charset="0"/>
          <a:ea typeface="+mj-ea"/>
          <a:cs typeface="Calibri" panose="020F0502020204030204" pitchFamily="34" charset="0"/>
        </a:defRPr>
      </a:lvl1pPr>
    </p:titleStyle>
    <p:bodyStyle>
      <a:lvl1pPr marL="173736" indent="-173736" algn="l" defTabSz="914400" rtl="0" eaLnBrk="1" latinLnBrk="0" hangingPunct="1">
        <a:lnSpc>
          <a:spcPct val="107000"/>
        </a:lnSpc>
        <a:spcBef>
          <a:spcPts val="1200"/>
        </a:spcBef>
        <a:buClr>
          <a:schemeClr val="accent1"/>
        </a:buClr>
        <a:buFont typeface="Arial" panose="020B0604020202020204" pitchFamily="34" charset="0"/>
        <a:buChar char="•"/>
        <a:defRPr sz="3000" kern="1200" baseline="0">
          <a:solidFill>
            <a:schemeClr val="accent1"/>
          </a:solidFill>
          <a:latin typeface="Calibri" panose="020F0502020204030204" pitchFamily="34" charset="0"/>
          <a:ea typeface="+mn-ea"/>
          <a:cs typeface="Calibri" panose="020F0502020204030204" pitchFamily="34" charset="0"/>
        </a:defRPr>
      </a:lvl1pPr>
      <a:lvl2pPr marL="338328" indent="-174625" algn="l" defTabSz="914400" rtl="0" eaLnBrk="1" latinLnBrk="0" hangingPunct="1">
        <a:lnSpc>
          <a:spcPct val="107000"/>
        </a:lnSpc>
        <a:spcBef>
          <a:spcPts val="0"/>
        </a:spcBef>
        <a:buClr>
          <a:schemeClr val="tx1">
            <a:lumMod val="85000"/>
            <a:lumOff val="15000"/>
          </a:schemeClr>
        </a:buClr>
        <a:buFont typeface="Arial" panose="020B0604020202020204" pitchFamily="34" charset="0"/>
        <a:buChar char="•"/>
        <a:defRPr sz="2400" kern="1200" baseline="0">
          <a:solidFill>
            <a:schemeClr val="tx1">
              <a:lumMod val="85000"/>
              <a:lumOff val="15000"/>
            </a:schemeClr>
          </a:solidFill>
          <a:latin typeface="Calibri" panose="020F0502020204030204" pitchFamily="34" charset="0"/>
          <a:ea typeface="+mn-ea"/>
          <a:cs typeface="Calibri" panose="020F0502020204030204" pitchFamily="34" charset="0"/>
        </a:defRPr>
      </a:lvl2pPr>
      <a:lvl3pPr marL="509588" indent="-161925" algn="l" defTabSz="914400" rtl="0" eaLnBrk="1" latinLnBrk="0" hangingPunct="1">
        <a:lnSpc>
          <a:spcPct val="100000"/>
        </a:lnSpc>
        <a:spcBef>
          <a:spcPts val="0"/>
        </a:spcBef>
        <a:buClr>
          <a:schemeClr val="tx1">
            <a:lumMod val="85000"/>
            <a:lumOff val="15000"/>
          </a:schemeClr>
        </a:buClr>
        <a:buFont typeface="Arial" panose="020B0604020202020204" pitchFamily="34" charset="0"/>
        <a:buChar char="•"/>
        <a:defRPr lang="en-US" sz="2000" kern="1200" dirty="0" smtClean="0">
          <a:solidFill>
            <a:schemeClr val="tx1">
              <a:lumMod val="85000"/>
              <a:lumOff val="15000"/>
            </a:schemeClr>
          </a:solidFill>
          <a:latin typeface="Calibri" panose="020F0502020204030204" pitchFamily="34" charset="0"/>
          <a:ea typeface="+mn-ea"/>
          <a:cs typeface="Calibri" panose="020F0502020204030204" pitchFamily="34" charset="0"/>
        </a:defRPr>
      </a:lvl3pPr>
      <a:lvl4pPr marL="685800" indent="-173736" algn="l" defTabSz="914400" rtl="0" eaLnBrk="1" latinLnBrk="0" hangingPunct="1">
        <a:lnSpc>
          <a:spcPct val="100000"/>
        </a:lnSpc>
        <a:spcBef>
          <a:spcPts val="0"/>
        </a:spcBef>
        <a:buClr>
          <a:schemeClr val="tx1">
            <a:lumMod val="85000"/>
            <a:lumOff val="15000"/>
          </a:schemeClr>
        </a:buClr>
        <a:buFont typeface="Arial" panose="020B0604020202020204" pitchFamily="34" charset="0"/>
        <a:buChar char="•"/>
        <a:defRPr sz="1800" kern="1200">
          <a:solidFill>
            <a:schemeClr val="tx1">
              <a:lumMod val="85000"/>
              <a:lumOff val="15000"/>
            </a:schemeClr>
          </a:solidFill>
          <a:latin typeface="Calibri" panose="020F0502020204030204" pitchFamily="34" charset="0"/>
          <a:ea typeface="+mn-ea"/>
          <a:cs typeface="Calibri" panose="020F0502020204030204" pitchFamily="34" charset="0"/>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None/>
        <a:tabLst/>
        <a:defRPr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551A534-0C02-4056-BE25-3E4312DB3C99}"/>
              </a:ext>
            </a:extLst>
          </p:cNvPr>
          <p:cNvSpPr>
            <a:spLocks noGrp="1"/>
          </p:cNvSpPr>
          <p:nvPr>
            <p:ph type="ctrTitle"/>
          </p:nvPr>
        </p:nvSpPr>
        <p:spPr>
          <a:xfrm>
            <a:off x="5178390" y="1073872"/>
            <a:ext cx="6286534" cy="1107080"/>
          </a:xfrm>
        </p:spPr>
        <p:txBody>
          <a:bodyPr/>
          <a:lstStyle/>
          <a:p>
            <a:pPr algn="ctr"/>
            <a:r>
              <a:rPr lang="en-US" sz="4000" dirty="0"/>
              <a:t>Demand Curve for </a:t>
            </a:r>
            <a:r>
              <a:rPr lang="en-US" sz="4000" dirty="0" smtClean="0"/>
              <a:t/>
            </a:r>
            <a:br>
              <a:rPr lang="en-US" sz="4000" dirty="0" smtClean="0"/>
            </a:br>
            <a:r>
              <a:rPr lang="en-US" sz="4000" dirty="0" smtClean="0"/>
              <a:t>Regulation Down</a:t>
            </a:r>
            <a:endParaRPr lang="en-US" sz="4000" dirty="0"/>
          </a:p>
        </p:txBody>
      </p:sp>
      <p:sp>
        <p:nvSpPr>
          <p:cNvPr id="6" name="Text Placeholder 5">
            <a:extLst>
              <a:ext uri="{FF2B5EF4-FFF2-40B4-BE49-F238E27FC236}">
                <a16:creationId xmlns="" xmlns:a16="http://schemas.microsoft.com/office/drawing/2014/main" id="{76EB1FE9-B8CE-4D71-9052-E8C10A476B5D}"/>
              </a:ext>
            </a:extLst>
          </p:cNvPr>
          <p:cNvSpPr>
            <a:spLocks noGrp="1"/>
          </p:cNvSpPr>
          <p:nvPr>
            <p:ph type="body" sz="quarter" idx="10"/>
          </p:nvPr>
        </p:nvSpPr>
        <p:spPr/>
        <p:txBody>
          <a:bodyPr>
            <a:normAutofit/>
          </a:bodyPr>
          <a:lstStyle/>
          <a:p>
            <a:r>
              <a:rPr lang="en-US" dirty="0" smtClean="0"/>
              <a:t>Dec 3 , 2019</a:t>
            </a:r>
            <a:endParaRPr lang="en-US" dirty="0"/>
          </a:p>
        </p:txBody>
      </p:sp>
      <p:sp>
        <p:nvSpPr>
          <p:cNvPr id="8" name="Text Placeholder 7"/>
          <p:cNvSpPr>
            <a:spLocks noGrp="1"/>
          </p:cNvSpPr>
          <p:nvPr>
            <p:ph type="body" sz="quarter" idx="16"/>
          </p:nvPr>
        </p:nvSpPr>
        <p:spPr/>
        <p:txBody>
          <a:bodyPr/>
          <a:lstStyle/>
          <a:p>
            <a:r>
              <a:rPr lang="en-US" dirty="0" smtClean="0"/>
              <a:t>Murali Sithuraj</a:t>
            </a:r>
            <a:endParaRPr lang="en-US" dirty="0"/>
          </a:p>
        </p:txBody>
      </p:sp>
      <p:sp>
        <p:nvSpPr>
          <p:cNvPr id="5" name="Text Placeholder 4"/>
          <p:cNvSpPr>
            <a:spLocks noGrp="1"/>
          </p:cNvSpPr>
          <p:nvPr>
            <p:ph type="body" sz="quarter" idx="13"/>
          </p:nvPr>
        </p:nvSpPr>
        <p:spPr/>
        <p:txBody>
          <a:bodyPr>
            <a:normAutofit fontScale="92500" lnSpcReduction="10000"/>
          </a:bodyPr>
          <a:lstStyle/>
          <a:p>
            <a:r>
              <a:rPr lang="en-US" dirty="0" smtClean="0"/>
              <a:t>12/03/2019</a:t>
            </a:r>
            <a:endParaRPr lang="en-US" dirty="0"/>
          </a:p>
        </p:txBody>
      </p:sp>
    </p:spTree>
    <p:extLst>
      <p:ext uri="{BB962C8B-B14F-4D97-AF65-F5344CB8AC3E}">
        <p14:creationId xmlns:p14="http://schemas.microsoft.com/office/powerpoint/2010/main" val="8856525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and Curve for Regulation-Down</a:t>
            </a:r>
            <a:endParaRPr lang="en-US" dirty="0"/>
          </a:p>
        </p:txBody>
      </p:sp>
      <p:sp>
        <p:nvSpPr>
          <p:cNvPr id="3" name="Text Placeholder 2"/>
          <p:cNvSpPr>
            <a:spLocks noGrp="1"/>
          </p:cNvSpPr>
          <p:nvPr>
            <p:ph type="body" sz="quarter" idx="10"/>
          </p:nvPr>
        </p:nvSpPr>
        <p:spPr>
          <a:xfrm>
            <a:off x="599401" y="1228058"/>
            <a:ext cx="10991850" cy="4156075"/>
          </a:xfrm>
        </p:spPr>
        <p:txBody>
          <a:bodyPr/>
          <a:lstStyle/>
          <a:p>
            <a:r>
              <a:rPr lang="en-US" sz="2400" dirty="0" smtClean="0"/>
              <a:t>ERCOT’s Proposal</a:t>
            </a:r>
          </a:p>
          <a:p>
            <a:pPr lvl="1"/>
            <a:r>
              <a:rPr lang="en-US" sz="1800" dirty="0" smtClean="0"/>
              <a:t>For </a:t>
            </a:r>
            <a:r>
              <a:rPr lang="en-US" sz="1800" dirty="0" err="1"/>
              <a:t>Reg</a:t>
            </a:r>
            <a:r>
              <a:rPr lang="en-US" sz="1800" dirty="0"/>
              <a:t>-Down, the ASDC will be a constant value at a price of $</a:t>
            </a:r>
            <a:r>
              <a:rPr lang="en-US" sz="1800" dirty="0" smtClean="0"/>
              <a:t>9,000/MWh</a:t>
            </a:r>
          </a:p>
          <a:p>
            <a:pPr marL="173736" lvl="1" indent="-173736">
              <a:spcBef>
                <a:spcPts val="1200"/>
              </a:spcBef>
              <a:buClr>
                <a:schemeClr val="accent1"/>
              </a:buClr>
            </a:pPr>
            <a:r>
              <a:rPr lang="en-US" dirty="0" smtClean="0">
                <a:solidFill>
                  <a:schemeClr val="accent1"/>
                </a:solidFill>
              </a:rPr>
              <a:t>AE’s </a:t>
            </a:r>
            <a:r>
              <a:rPr lang="en-US" dirty="0">
                <a:solidFill>
                  <a:schemeClr val="accent1"/>
                </a:solidFill>
              </a:rPr>
              <a:t>Proposal</a:t>
            </a:r>
          </a:p>
          <a:p>
            <a:pPr lvl="1"/>
            <a:r>
              <a:rPr lang="en-US" sz="1800" dirty="0"/>
              <a:t>The following steps will be taken to determine the shape and price points for </a:t>
            </a:r>
            <a:r>
              <a:rPr lang="en-US" sz="1800" dirty="0" err="1"/>
              <a:t>Reg</a:t>
            </a:r>
            <a:r>
              <a:rPr lang="en-US" sz="1800" dirty="0"/>
              <a:t>-Down ASDC:</a:t>
            </a:r>
          </a:p>
          <a:p>
            <a:pPr marL="690563" lvl="2" indent="-342900">
              <a:buFont typeface="+mj-lt"/>
              <a:buAutoNum type="alphaLcPeriod"/>
            </a:pPr>
            <a:r>
              <a:rPr lang="en-US" sz="1400" dirty="0" smtClean="0"/>
              <a:t>Reserve </a:t>
            </a:r>
            <a:r>
              <a:rPr lang="en-US" sz="1400" dirty="0"/>
              <a:t>100 MW of Regulation Down Service (</a:t>
            </a:r>
            <a:r>
              <a:rPr lang="en-US" sz="1400" dirty="0" err="1"/>
              <a:t>Reg</a:t>
            </a:r>
            <a:r>
              <a:rPr lang="en-US" sz="1400" dirty="0"/>
              <a:t>-Down) consistent with the current market’s Power Balance Penalty Curve (PBPC) pricing;</a:t>
            </a:r>
          </a:p>
          <a:p>
            <a:pPr marL="690563" lvl="2" indent="-342900">
              <a:buFont typeface="+mj-lt"/>
              <a:buAutoNum type="alphaLcPeriod"/>
            </a:pPr>
            <a:r>
              <a:rPr lang="en-US" sz="1400" dirty="0" smtClean="0"/>
              <a:t>Place </a:t>
            </a:r>
            <a:r>
              <a:rPr lang="en-US" sz="1400" dirty="0"/>
              <a:t>the remaining </a:t>
            </a:r>
            <a:r>
              <a:rPr lang="en-US" sz="1400" dirty="0" err="1"/>
              <a:t>Reg</a:t>
            </a:r>
            <a:r>
              <a:rPr lang="en-US" sz="1400" dirty="0"/>
              <a:t>-Down requirement at the VOLL.</a:t>
            </a:r>
          </a:p>
          <a:p>
            <a:pPr marL="163703" lvl="1" indent="0">
              <a:buNone/>
            </a:pPr>
            <a:endParaRPr lang="en-US" sz="1800" dirty="0" smtClean="0"/>
          </a:p>
          <a:p>
            <a:pPr lvl="1"/>
            <a:endParaRPr lang="en-US" sz="18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2892" y="3638515"/>
            <a:ext cx="3286370" cy="2141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Table 3"/>
          <p:cNvGraphicFramePr>
            <a:graphicFrameLocks noGrp="1"/>
          </p:cNvGraphicFramePr>
          <p:nvPr>
            <p:extLst>
              <p:ext uri="{D42A27DB-BD31-4B8C-83A1-F6EECF244321}">
                <p14:modId xmlns:p14="http://schemas.microsoft.com/office/powerpoint/2010/main" val="835085740"/>
              </p:ext>
            </p:extLst>
          </p:nvPr>
        </p:nvGraphicFramePr>
        <p:xfrm>
          <a:off x="9702189" y="3356256"/>
          <a:ext cx="2009775" cy="2876550"/>
        </p:xfrm>
        <a:graphic>
          <a:graphicData uri="http://schemas.openxmlformats.org/drawingml/2006/table">
            <a:tbl>
              <a:tblPr firstRow="1" firstCol="1" bandRow="1">
                <a:tableStyleId>{F5AB1C69-6EDB-4FF4-983F-18BD219EF322}</a:tableStyleId>
              </a:tblPr>
              <a:tblGrid>
                <a:gridCol w="1093928"/>
                <a:gridCol w="915847"/>
              </a:tblGrid>
              <a:tr h="800100">
                <a:tc>
                  <a:txBody>
                    <a:bodyPr/>
                    <a:lstStyle/>
                    <a:p>
                      <a:pPr marL="0" marR="0" algn="ctr">
                        <a:spcBef>
                          <a:spcPts val="0"/>
                        </a:spcBef>
                        <a:spcAft>
                          <a:spcPts val="0"/>
                        </a:spcAft>
                      </a:pPr>
                      <a:r>
                        <a:rPr lang="en-US" sz="1200" dirty="0">
                          <a:effectLst/>
                        </a:rPr>
                        <a:t>MW Violation</a:t>
                      </a:r>
                      <a:endParaRPr lang="en-US" sz="1200" dirty="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a:effectLst/>
                        </a:rPr>
                        <a:t>Penalty Value ($/MWh)</a:t>
                      </a:r>
                      <a:endParaRPr lang="en-US" sz="120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dirty="0">
                          <a:effectLst/>
                        </a:rPr>
                        <a:t>≤ 5</a:t>
                      </a:r>
                      <a:r>
                        <a:rPr lang="en-US" sz="1100" dirty="0">
                          <a:effectLst/>
                        </a:rPr>
                        <a:t> </a:t>
                      </a:r>
                      <a:endParaRPr lang="en-US" sz="1200" dirty="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a:effectLst/>
                        </a:rPr>
                        <a:t>250 </a:t>
                      </a:r>
                      <a:endParaRPr lang="en-US" sz="120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dirty="0">
                          <a:effectLst/>
                        </a:rPr>
                        <a:t>5 &lt; to ≤ 10</a:t>
                      </a:r>
                      <a:r>
                        <a:rPr lang="en-US" sz="1100" dirty="0">
                          <a:effectLst/>
                        </a:rPr>
                        <a:t> </a:t>
                      </a:r>
                      <a:endParaRPr lang="en-US" sz="1200" dirty="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dirty="0">
                          <a:effectLst/>
                        </a:rPr>
                        <a:t>300 </a:t>
                      </a:r>
                      <a:endParaRPr lang="en-US" sz="1200" dirty="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dirty="0">
                          <a:effectLst/>
                        </a:rPr>
                        <a:t>10 &lt; to ≤ 20</a:t>
                      </a:r>
                      <a:r>
                        <a:rPr lang="en-US" sz="1100" dirty="0">
                          <a:effectLst/>
                        </a:rPr>
                        <a:t> </a:t>
                      </a:r>
                      <a:endParaRPr lang="en-US" sz="1200" dirty="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dirty="0">
                          <a:effectLst/>
                        </a:rPr>
                        <a:t>400 </a:t>
                      </a:r>
                      <a:endParaRPr lang="en-US" sz="1200" dirty="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a:effectLst/>
                        </a:rPr>
                        <a:t>20 &lt; to ≤ 30</a:t>
                      </a:r>
                      <a:r>
                        <a:rPr lang="en-US" sz="1100">
                          <a:effectLst/>
                        </a:rPr>
                        <a:t> </a:t>
                      </a:r>
                      <a:endParaRPr lang="en-US" sz="120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dirty="0">
                          <a:effectLst/>
                        </a:rPr>
                        <a:t>500 </a:t>
                      </a:r>
                      <a:endParaRPr lang="en-US" sz="1200" dirty="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a:effectLst/>
                        </a:rPr>
                        <a:t>30 &lt; to ≤ 40</a:t>
                      </a:r>
                      <a:r>
                        <a:rPr lang="en-US" sz="1100">
                          <a:effectLst/>
                        </a:rPr>
                        <a:t> </a:t>
                      </a:r>
                      <a:endParaRPr lang="en-US" sz="120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dirty="0">
                          <a:effectLst/>
                        </a:rPr>
                        <a:t>1,000 </a:t>
                      </a:r>
                      <a:endParaRPr lang="en-US" sz="1200" dirty="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a:effectLst/>
                        </a:rPr>
                        <a:t>40 &lt; to ≤ 50</a:t>
                      </a:r>
                      <a:r>
                        <a:rPr lang="en-US" sz="1100">
                          <a:effectLst/>
                        </a:rPr>
                        <a:t> </a:t>
                      </a:r>
                      <a:endParaRPr lang="en-US" sz="120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dirty="0">
                          <a:effectLst/>
                        </a:rPr>
                        <a:t>2,250 </a:t>
                      </a:r>
                      <a:r>
                        <a:rPr lang="en-US" sz="1100" dirty="0">
                          <a:effectLst/>
                        </a:rPr>
                        <a:t> </a:t>
                      </a:r>
                      <a:endParaRPr lang="en-US" sz="1200" dirty="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a:effectLst/>
                        </a:rPr>
                        <a:t>50 &lt; to ≤ 100</a:t>
                      </a:r>
                      <a:r>
                        <a:rPr lang="en-US" sz="1100">
                          <a:effectLst/>
                        </a:rPr>
                        <a:t> </a:t>
                      </a:r>
                      <a:endParaRPr lang="en-US" sz="120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dirty="0">
                          <a:effectLst/>
                        </a:rPr>
                        <a:t>4,500 </a:t>
                      </a:r>
                      <a:r>
                        <a:rPr lang="en-US" sz="1100" dirty="0">
                          <a:effectLst/>
                        </a:rPr>
                        <a:t> </a:t>
                      </a:r>
                      <a:endParaRPr lang="en-US" sz="1200" dirty="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a:effectLst/>
                        </a:rPr>
                        <a:t>100 &lt; to ≤ 150</a:t>
                      </a:r>
                      <a:r>
                        <a:rPr lang="en-US" sz="1100">
                          <a:effectLst/>
                        </a:rPr>
                        <a:t> </a:t>
                      </a:r>
                      <a:endParaRPr lang="en-US" sz="120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a:effectLst/>
                        </a:rPr>
                        <a:t>6,000 </a:t>
                      </a:r>
                      <a:r>
                        <a:rPr lang="en-US" sz="1100">
                          <a:effectLst/>
                        </a:rPr>
                        <a:t> </a:t>
                      </a:r>
                      <a:endParaRPr lang="en-US" sz="1200">
                        <a:effectLst/>
                        <a:latin typeface="Times New Roman"/>
                        <a:ea typeface="Times New Roman"/>
                      </a:endParaRPr>
                    </a:p>
                  </a:txBody>
                  <a:tcPr marL="68580" marR="68580" marT="0" marB="0" anchor="ctr"/>
                </a:tc>
              </a:tr>
              <a:tr h="276225">
                <a:tc>
                  <a:txBody>
                    <a:bodyPr/>
                    <a:lstStyle/>
                    <a:p>
                      <a:pPr marL="0" marR="0" algn="ctr">
                        <a:spcBef>
                          <a:spcPts val="0"/>
                        </a:spcBef>
                        <a:spcAft>
                          <a:spcPts val="0"/>
                        </a:spcAft>
                      </a:pPr>
                      <a:r>
                        <a:rPr lang="en-US" sz="1200">
                          <a:effectLst/>
                        </a:rPr>
                        <a:t>150 &lt; to ≤ 200</a:t>
                      </a:r>
                      <a:r>
                        <a:rPr lang="en-US" sz="1100">
                          <a:effectLst/>
                        </a:rPr>
                        <a:t> </a:t>
                      </a:r>
                      <a:endParaRPr lang="en-US" sz="120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a:effectLst/>
                        </a:rPr>
                        <a:t>7,500 </a:t>
                      </a:r>
                      <a:r>
                        <a:rPr lang="en-US" sz="1100">
                          <a:effectLst/>
                        </a:rPr>
                        <a:t> </a:t>
                      </a:r>
                      <a:endParaRPr lang="en-US" sz="1200">
                        <a:effectLst/>
                        <a:latin typeface="Times New Roman"/>
                        <a:ea typeface="Times New Roman"/>
                      </a:endParaRPr>
                    </a:p>
                  </a:txBody>
                  <a:tcPr marL="68580" marR="68580" marT="0" marB="0" anchor="ctr"/>
                </a:tc>
              </a:tr>
              <a:tr h="200025">
                <a:tc>
                  <a:txBody>
                    <a:bodyPr/>
                    <a:lstStyle/>
                    <a:p>
                      <a:pPr marL="0" marR="0" algn="ctr">
                        <a:spcBef>
                          <a:spcPts val="0"/>
                        </a:spcBef>
                        <a:spcAft>
                          <a:spcPts val="0"/>
                        </a:spcAft>
                      </a:pPr>
                      <a:r>
                        <a:rPr lang="en-US" sz="1200">
                          <a:effectLst/>
                        </a:rPr>
                        <a:t>200 or more</a:t>
                      </a:r>
                      <a:r>
                        <a:rPr lang="en-US" sz="1100">
                          <a:effectLst/>
                        </a:rPr>
                        <a:t> </a:t>
                      </a:r>
                      <a:endParaRPr lang="en-US" sz="1200">
                        <a:effectLst/>
                        <a:latin typeface="Times New Roman"/>
                        <a:ea typeface="Times New Roman"/>
                      </a:endParaRPr>
                    </a:p>
                  </a:txBody>
                  <a:tcPr marL="68580" marR="68580" marT="0" marB="0" anchor="ctr"/>
                </a:tc>
                <a:tc>
                  <a:txBody>
                    <a:bodyPr/>
                    <a:lstStyle/>
                    <a:p>
                      <a:pPr marL="0" marR="0" algn="ctr">
                        <a:spcBef>
                          <a:spcPts val="0"/>
                        </a:spcBef>
                        <a:spcAft>
                          <a:spcPts val="0"/>
                        </a:spcAft>
                      </a:pPr>
                      <a:r>
                        <a:rPr lang="en-US" sz="1200" dirty="0">
                          <a:effectLst/>
                        </a:rPr>
                        <a:t>9,001 </a:t>
                      </a:r>
                      <a:r>
                        <a:rPr lang="en-US" sz="1100" dirty="0">
                          <a:effectLst/>
                        </a:rPr>
                        <a:t> </a:t>
                      </a:r>
                      <a:endParaRPr lang="en-US" sz="1200" dirty="0">
                        <a:effectLst/>
                        <a:latin typeface="Times New Roman"/>
                        <a:ea typeface="Times New Roman"/>
                      </a:endParaRPr>
                    </a:p>
                  </a:txBody>
                  <a:tcPr marL="68580" marR="68580" marT="0" marB="0" anchor="ctr"/>
                </a:tc>
              </a:tr>
            </a:tbl>
          </a:graphicData>
        </a:graphic>
      </p:graphicFrame>
      <p:sp>
        <p:nvSpPr>
          <p:cNvPr id="7" name="TextBox 6"/>
          <p:cNvSpPr txBox="1"/>
          <p:nvPr/>
        </p:nvSpPr>
        <p:spPr>
          <a:xfrm>
            <a:off x="6529755" y="3219939"/>
            <a:ext cx="2735384" cy="418576"/>
          </a:xfrm>
          <a:prstGeom prst="rect">
            <a:avLst/>
          </a:prstGeom>
          <a:noFill/>
          <a:ln>
            <a:noFill/>
          </a:ln>
        </p:spPr>
        <p:txBody>
          <a:bodyPr wrap="square" lIns="137160" tIns="91440" rIns="0" bIns="91440" rtlCol="0">
            <a:spAutoFit/>
          </a:bodyPr>
          <a:lstStyle/>
          <a:p>
            <a:pPr algn="l">
              <a:lnSpc>
                <a:spcPct val="95000"/>
              </a:lnSpc>
              <a:spcBef>
                <a:spcPts val="1200"/>
              </a:spcBef>
            </a:pPr>
            <a:r>
              <a:rPr lang="en-US" sz="1600" dirty="0" smtClean="0">
                <a:solidFill>
                  <a:schemeClr val="tx1">
                    <a:lumMod val="85000"/>
                    <a:lumOff val="15000"/>
                  </a:schemeClr>
                </a:solidFill>
                <a:latin typeface="Calibri" panose="020F0502020204030204" pitchFamily="34" charset="0"/>
                <a:cs typeface="Calibri" panose="020F0502020204030204" pitchFamily="34" charset="0"/>
              </a:rPr>
              <a:t>Power Balance Penalty Curve</a:t>
            </a:r>
          </a:p>
        </p:txBody>
      </p:sp>
      <p:graphicFrame>
        <p:nvGraphicFramePr>
          <p:cNvPr id="8" name="Table 7"/>
          <p:cNvGraphicFramePr>
            <a:graphicFrameLocks noGrp="1"/>
          </p:cNvGraphicFramePr>
          <p:nvPr>
            <p:extLst>
              <p:ext uri="{D42A27DB-BD31-4B8C-83A1-F6EECF244321}">
                <p14:modId xmlns:p14="http://schemas.microsoft.com/office/powerpoint/2010/main" val="2129708896"/>
              </p:ext>
            </p:extLst>
          </p:nvPr>
        </p:nvGraphicFramePr>
        <p:xfrm>
          <a:off x="367324" y="4145609"/>
          <a:ext cx="1344244" cy="916305"/>
        </p:xfrm>
        <a:graphic>
          <a:graphicData uri="http://schemas.openxmlformats.org/drawingml/2006/table">
            <a:tbl>
              <a:tblPr firstRow="1" firstCol="1">
                <a:tableStyleId>{073A0DAA-6AF3-43AB-8588-CEC1D06C72B9}</a:tableStyleId>
              </a:tblPr>
              <a:tblGrid>
                <a:gridCol w="672122"/>
                <a:gridCol w="672122"/>
              </a:tblGrid>
              <a:tr h="190500">
                <a:tc gridSpan="2">
                  <a:txBody>
                    <a:bodyPr/>
                    <a:lstStyle/>
                    <a:p>
                      <a:pPr algn="ctr" fontAlgn="b"/>
                      <a:r>
                        <a:rPr lang="en-US" sz="1100" u="none" strike="noStrike" dirty="0" err="1">
                          <a:effectLst/>
                        </a:rPr>
                        <a:t>Reg</a:t>
                      </a:r>
                      <a:r>
                        <a:rPr lang="en-US" sz="1100" u="none" strike="noStrike" dirty="0">
                          <a:effectLst/>
                        </a:rPr>
                        <a:t>-Down Plan </a:t>
                      </a:r>
                      <a:endParaRPr lang="en-US" sz="1100" u="none" strike="noStrike" dirty="0" smtClean="0">
                        <a:effectLst/>
                      </a:endParaRPr>
                    </a:p>
                    <a:p>
                      <a:pPr algn="ctr" fontAlgn="b"/>
                      <a:r>
                        <a:rPr lang="en-US" sz="1100" u="none" strike="noStrike" dirty="0" smtClean="0">
                          <a:effectLst/>
                        </a:rPr>
                        <a:t>2020</a:t>
                      </a:r>
                      <a:endParaRPr lang="en-US" sz="1100" b="0" i="0" u="none" strike="noStrike" dirty="0">
                        <a:solidFill>
                          <a:srgbClr val="000000"/>
                        </a:solidFill>
                        <a:effectLst/>
                        <a:latin typeface="Calibri"/>
                      </a:endParaRPr>
                    </a:p>
                  </a:txBody>
                  <a:tcPr marL="9525" marR="9525" marT="9525" marB="0" anchor="b"/>
                </a:tc>
                <a:tc hMerge="1">
                  <a:txBody>
                    <a:bodyPr/>
                    <a:lstStyle/>
                    <a:p>
                      <a:endParaRPr lang="en-US"/>
                    </a:p>
                  </a:txBody>
                  <a:tcPr/>
                </a:tc>
              </a:tr>
              <a:tr h="190500">
                <a:tc>
                  <a:txBody>
                    <a:bodyPr/>
                    <a:lstStyle/>
                    <a:p>
                      <a:pPr algn="l" fontAlgn="b"/>
                      <a:r>
                        <a:rPr lang="en-US" sz="1100" u="none" strike="noStrike">
                          <a:effectLst/>
                        </a:rPr>
                        <a:t>Max</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smtClean="0">
                          <a:effectLst/>
                        </a:rPr>
                        <a:t>617 MW</a:t>
                      </a:r>
                      <a:endParaRPr lang="en-US" sz="1100" b="0" i="0" u="none" strike="noStrike" dirty="0">
                        <a:solidFill>
                          <a:srgbClr val="000000"/>
                        </a:solidFill>
                        <a:effectLst/>
                        <a:latin typeface="Calibri"/>
                      </a:endParaRPr>
                    </a:p>
                  </a:txBody>
                  <a:tcPr marL="9525" marR="9525" marT="9525" marB="0" anchor="b"/>
                </a:tc>
              </a:tr>
              <a:tr h="190500">
                <a:tc>
                  <a:txBody>
                    <a:bodyPr/>
                    <a:lstStyle/>
                    <a:p>
                      <a:pPr algn="l" fontAlgn="b"/>
                      <a:r>
                        <a:rPr lang="en-US" sz="1100" u="none" strike="noStrike">
                          <a:effectLst/>
                        </a:rPr>
                        <a:t>Min</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smtClean="0">
                          <a:effectLst/>
                        </a:rPr>
                        <a:t>138 MW</a:t>
                      </a:r>
                      <a:endParaRPr lang="en-US" sz="1100" b="0" i="0" u="none" strike="noStrike" dirty="0">
                        <a:solidFill>
                          <a:srgbClr val="000000"/>
                        </a:solidFill>
                        <a:effectLst/>
                        <a:latin typeface="Calibri"/>
                      </a:endParaRPr>
                    </a:p>
                  </a:txBody>
                  <a:tcPr marL="9525" marR="9525" marT="9525" marB="0" anchor="b"/>
                </a:tc>
              </a:tr>
              <a:tr h="190500">
                <a:tc>
                  <a:txBody>
                    <a:bodyPr/>
                    <a:lstStyle/>
                    <a:p>
                      <a:pPr algn="l" fontAlgn="b"/>
                      <a:r>
                        <a:rPr lang="en-US" sz="1100" u="none" strike="noStrike">
                          <a:effectLst/>
                        </a:rPr>
                        <a:t>Avg</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smtClean="0">
                          <a:effectLst/>
                        </a:rPr>
                        <a:t>291 MW</a:t>
                      </a:r>
                      <a:endParaRPr lang="en-US" sz="1100" b="0" i="0" u="none" strike="noStrike" dirty="0">
                        <a:solidFill>
                          <a:srgbClr val="000000"/>
                        </a:solidFill>
                        <a:effectLst/>
                        <a:latin typeface="Calibri"/>
                      </a:endParaRPr>
                    </a:p>
                  </a:txBody>
                  <a:tcPr marL="9525" marR="9525" marT="9525" marB="0" anchor="b"/>
                </a:tc>
              </a:tr>
            </a:tbl>
          </a:graphicData>
        </a:graphic>
      </p:graphicFrame>
      <p:sp>
        <p:nvSpPr>
          <p:cNvPr id="9" name="TextBox 8"/>
          <p:cNvSpPr txBox="1"/>
          <p:nvPr/>
        </p:nvSpPr>
        <p:spPr>
          <a:xfrm>
            <a:off x="3598984" y="5329304"/>
            <a:ext cx="1973385" cy="301621"/>
          </a:xfrm>
          <a:prstGeom prst="rect">
            <a:avLst/>
          </a:prstGeom>
          <a:noFill/>
          <a:ln>
            <a:noFill/>
          </a:ln>
        </p:spPr>
        <p:txBody>
          <a:bodyPr wrap="square" lIns="137160" tIns="91440" rIns="0" bIns="91440" rtlCol="0">
            <a:spAutoFit/>
          </a:bodyPr>
          <a:lstStyle/>
          <a:p>
            <a:pPr algn="l">
              <a:lnSpc>
                <a:spcPct val="95000"/>
              </a:lnSpc>
              <a:spcBef>
                <a:spcPts val="1200"/>
              </a:spcBef>
            </a:pPr>
            <a:r>
              <a:rPr lang="en-US" sz="800" dirty="0" smtClean="0">
                <a:solidFill>
                  <a:schemeClr val="tx1">
                    <a:lumMod val="85000"/>
                    <a:lumOff val="15000"/>
                  </a:schemeClr>
                </a:solidFill>
                <a:latin typeface="Calibri" panose="020F0502020204030204" pitchFamily="34" charset="0"/>
                <a:cs typeface="Calibri" panose="020F0502020204030204" pitchFamily="34" charset="0"/>
              </a:rPr>
              <a:t>100        50       40         30         20        10       5</a:t>
            </a:r>
          </a:p>
        </p:txBody>
      </p:sp>
      <p:graphicFrame>
        <p:nvGraphicFramePr>
          <p:cNvPr id="11" name="Chart 10"/>
          <p:cNvGraphicFramePr>
            <a:graphicFrameLocks/>
          </p:cNvGraphicFramePr>
          <p:nvPr>
            <p:extLst>
              <p:ext uri="{D42A27DB-BD31-4B8C-83A1-F6EECF244321}">
                <p14:modId xmlns:p14="http://schemas.microsoft.com/office/powerpoint/2010/main" val="2961114911"/>
              </p:ext>
            </p:extLst>
          </p:nvPr>
        </p:nvGraphicFramePr>
        <p:xfrm>
          <a:off x="1883508" y="3394659"/>
          <a:ext cx="3790461" cy="24035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1093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051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Austin Energy PowerPoint">
  <a:themeElements>
    <a:clrScheme name="austin energy F">
      <a:dk1>
        <a:srgbClr val="000000"/>
      </a:dk1>
      <a:lt1>
        <a:srgbClr val="FFFFFF"/>
      </a:lt1>
      <a:dk2>
        <a:srgbClr val="3C3A45"/>
      </a:dk2>
      <a:lt2>
        <a:srgbClr val="9D9E9F"/>
      </a:lt2>
      <a:accent1>
        <a:srgbClr val="F15D2A"/>
      </a:accent1>
      <a:accent2>
        <a:srgbClr val="FFC000"/>
      </a:accent2>
      <a:accent3>
        <a:srgbClr val="3C3A45"/>
      </a:accent3>
      <a:accent4>
        <a:srgbClr val="708090"/>
      </a:accent4>
      <a:accent5>
        <a:srgbClr val="0072B8"/>
      </a:accent5>
      <a:accent6>
        <a:srgbClr val="5CA4D1"/>
      </a:accent6>
      <a:hlink>
        <a:srgbClr val="0072B8"/>
      </a:hlink>
      <a:folHlink>
        <a:srgbClr val="0072B8"/>
      </a:folHlink>
    </a:clrScheme>
    <a:fontScheme name="Austin Energy">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dirty="0" err="1" smtClean="0">
            <a:latin typeface="Calibri" panose="020F0502020204030204" pitchFamily="34" charset="0"/>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lumMod val="65000"/>
              <a:lumOff val="35000"/>
            </a:schemeClr>
          </a:solidFill>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err="1" smtClean="0">
            <a:solidFill>
              <a:schemeClr val="tx1">
                <a:lumMod val="85000"/>
                <a:lumOff val="15000"/>
              </a:schemeClr>
            </a:solidFill>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 xmlns:thm15="http://schemas.microsoft.com/office/thememl/2012/main" name="Presentation1" id="{9FF82CA1-464E-4A23-A0E8-365C2A7D24F9}" vid="{D5B5A604-0E1C-40C8-ACC3-8BBE16C52B57}"/>
    </a:ext>
  </a:extLst>
</a:theme>
</file>

<file path=ppt/theme/theme2.xml><?xml version="1.0" encoding="utf-8"?>
<a:theme xmlns:a="http://schemas.openxmlformats.org/drawingml/2006/main" name="Office Theme">
  <a:themeElements>
    <a:clrScheme name="Austin Energy Color P">
      <a:dk1>
        <a:srgbClr val="000000"/>
      </a:dk1>
      <a:lt1>
        <a:srgbClr val="FFFFFF"/>
      </a:lt1>
      <a:dk2>
        <a:srgbClr val="3C3A45"/>
      </a:dk2>
      <a:lt2>
        <a:srgbClr val="9D9E9F"/>
      </a:lt2>
      <a:accent1>
        <a:srgbClr val="F15D2A"/>
      </a:accent1>
      <a:accent2>
        <a:srgbClr val="FFC000"/>
      </a:accent2>
      <a:accent3>
        <a:srgbClr val="3C3A45"/>
      </a:accent3>
      <a:accent4>
        <a:srgbClr val="708090"/>
      </a:accent4>
      <a:accent5>
        <a:srgbClr val="0072B8"/>
      </a:accent5>
      <a:accent6>
        <a:srgbClr val="5CA4D1"/>
      </a:accent6>
      <a:hlink>
        <a:srgbClr val="0072B8"/>
      </a:hlink>
      <a:folHlink>
        <a:srgbClr val="0072B8"/>
      </a:folHlink>
    </a:clrScheme>
    <a:fontScheme name="Austin Energy">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ustin Energy Color P">
      <a:dk1>
        <a:srgbClr val="000000"/>
      </a:dk1>
      <a:lt1>
        <a:srgbClr val="FFFFFF"/>
      </a:lt1>
      <a:dk2>
        <a:srgbClr val="3C3A45"/>
      </a:dk2>
      <a:lt2>
        <a:srgbClr val="9D9E9F"/>
      </a:lt2>
      <a:accent1>
        <a:srgbClr val="F15D2A"/>
      </a:accent1>
      <a:accent2>
        <a:srgbClr val="FFC000"/>
      </a:accent2>
      <a:accent3>
        <a:srgbClr val="3C3A45"/>
      </a:accent3>
      <a:accent4>
        <a:srgbClr val="708090"/>
      </a:accent4>
      <a:accent5>
        <a:srgbClr val="0072B8"/>
      </a:accent5>
      <a:accent6>
        <a:srgbClr val="5CA4D1"/>
      </a:accent6>
      <a:hlink>
        <a:srgbClr val="0072B8"/>
      </a:hlink>
      <a:folHlink>
        <a:srgbClr val="0072B8"/>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33C27CE3776742AFAC6BE196ADBDB5" ma:contentTypeVersion="7" ma:contentTypeDescription="Create a new document." ma:contentTypeScope="" ma:versionID="72c6cd7e843e00ddeafc274f4de46d9e">
  <xsd:schema xmlns:xsd="http://www.w3.org/2001/XMLSchema" xmlns:xs="http://www.w3.org/2001/XMLSchema" xmlns:p="http://schemas.microsoft.com/office/2006/metadata/properties" xmlns:ns1="http://schemas.microsoft.com/sharepoint/v3" targetNamespace="http://schemas.microsoft.com/office/2006/metadata/properties" ma:root="true" ma:fieldsID="bd70524064cca0a0f3142c66d2cabe73" ns1:_="">
    <xsd:import namespace="http://schemas.microsoft.com/sharepoint/v3"/>
    <xsd:element name="properties">
      <xsd:complexType>
        <xsd:sequence>
          <xsd:element name="documentManagement">
            <xsd:complexType>
              <xsd:all>
                <xsd:element ref="ns1:PublishingStartDate" minOccurs="0"/>
                <xsd:element ref="ns1:PublishingExpirationDate"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AverageRating" ma:index="10" nillable="true" ma:displayName="Rating (0-5)" ma:decimals="2" ma:description="Average value of all the ratings that have been submitted" ma:internalName="AverageRating" ma:readOnly="true">
      <xsd:simpleType>
        <xsd:restriction base="dms:Number"/>
      </xsd:simpleType>
    </xsd:element>
    <xsd:element name="RatingCount" ma:index="11" nillable="true" ma:displayName="Number of Ratings" ma:decimals="0" ma:description="Number of ratings submitted" ma:internalName="RatingCount" ma:readOnly="true">
      <xsd:simpleType>
        <xsd:restriction base="dms:Number"/>
      </xsd:simpleType>
    </xsd:element>
    <xsd:element name="RatedBy" ma:index="12"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13" nillable="true" ma:displayName="User ratings" ma:description="User ratings for the item" ma:hidden="true" ma:internalName="Ratings">
      <xsd:simpleType>
        <xsd:restriction base="dms:Note"/>
      </xsd:simpleType>
    </xsd:element>
    <xsd:element name="LikesCount" ma:index="14" nillable="true" ma:displayName="Number of Likes" ma:internalName="LikesCount">
      <xsd:simpleType>
        <xsd:restriction base="dms:Unknown"/>
      </xsd:simpleType>
    </xsd:element>
    <xsd:element name="LikedBy" ma:index="15"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Ratings xmlns="http://schemas.microsoft.com/sharepoint/v3" xsi:nil="true"/>
    <LikedBy xmlns="http://schemas.microsoft.com/sharepoint/v3">
      <UserInfo>
        <DisplayName/>
        <AccountId xsi:nil="true"/>
        <AccountType/>
      </UserInfo>
    </LikedBy>
    <PublishingExpirationDate xmlns="http://schemas.microsoft.com/sharepoint/v3" xsi:nil="true"/>
    <PublishingStartDate xmlns="http://schemas.microsoft.com/sharepoint/v3" xsi:nil="true"/>
    <RatedBy xmlns="http://schemas.microsoft.com/sharepoint/v3">
      <UserInfo>
        <DisplayName/>
        <AccountId xsi:nil="true"/>
        <AccountType/>
      </UserInfo>
    </RatedB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1AE164-4A26-41B4-9274-CCE01E7A47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F4B421D-C2DE-4855-8896-96F79F192E65}">
  <ds:schemaRefs>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schemas.microsoft.com/office/infopath/2007/PartnerControls"/>
    <ds:schemaRef ds:uri="http://purl.org/dc/elements/1.1/"/>
    <ds:schemaRef ds:uri="http://schemas.microsoft.com/sharepoint/v3"/>
    <ds:schemaRef ds:uri="http://www.w3.org/XML/1998/namespace"/>
    <ds:schemaRef ds:uri="http://purl.org/dc/terms/"/>
  </ds:schemaRefs>
</ds:datastoreItem>
</file>

<file path=customXml/itemProps3.xml><?xml version="1.0" encoding="utf-8"?>
<ds:datastoreItem xmlns:ds="http://schemas.openxmlformats.org/officeDocument/2006/customXml" ds:itemID="{11C53FC8-1AA2-4C1D-BD45-4758B95703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ustin Energy PowerPoint</Template>
  <TotalTime>12159</TotalTime>
  <Words>172</Words>
  <Application>Microsoft Office PowerPoint</Application>
  <PresentationFormat>Custom</PresentationFormat>
  <Paragraphs>45</Paragraphs>
  <Slides>3</Slides>
  <Notes>1</Notes>
  <HiddenSlides>0</HiddenSlides>
  <MMClips>0</MMClips>
  <ScaleCrop>false</ScaleCrop>
  <HeadingPairs>
    <vt:vector size="4" baseType="variant">
      <vt:variant>
        <vt:lpstr>Theme</vt:lpstr>
      </vt:variant>
      <vt:variant>
        <vt:i4>1</vt:i4>
      </vt:variant>
      <vt:variant>
        <vt:lpstr>Slide Titles</vt:lpstr>
      </vt:variant>
      <vt:variant>
        <vt:i4>3</vt:i4>
      </vt:variant>
    </vt:vector>
  </HeadingPairs>
  <TitlesOfParts>
    <vt:vector size="4" baseType="lpstr">
      <vt:lpstr>Austin Energy PowerPoint</vt:lpstr>
      <vt:lpstr>Demand Curve for  Regulation Down</vt:lpstr>
      <vt:lpstr>Demand Curve for Regulation-Down</vt:lpstr>
      <vt:lpstr>PowerPoint Presentation</vt:lpstr>
    </vt:vector>
  </TitlesOfParts>
  <Company>Austin Energ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 RTC Working Team</dc:title>
  <dc:creator>Smith, Christopher</dc:creator>
  <cp:keywords>Updated on 080818</cp:keywords>
  <cp:lastModifiedBy>Austin Energy 11262019</cp:lastModifiedBy>
  <cp:revision>44</cp:revision>
  <dcterms:created xsi:type="dcterms:W3CDTF">2019-05-14T21:20:27Z</dcterms:created>
  <dcterms:modified xsi:type="dcterms:W3CDTF">2019-12-02T20:2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3233C27CE3776742AFAC6BE196ADBDB5</vt:lpwstr>
  </property>
</Properties>
</file>